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C4_DD33AEA5.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C1_6FC2A69B.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 id="2147483990" r:id="rId6"/>
  </p:sldMasterIdLst>
  <p:notesMasterIdLst>
    <p:notesMasterId r:id="rId28"/>
  </p:notesMasterIdLst>
  <p:handoutMasterIdLst>
    <p:handoutMasterId r:id="rId29"/>
  </p:handoutMasterIdLst>
  <p:sldIdLst>
    <p:sldId id="406" r:id="rId7"/>
    <p:sldId id="1997" r:id="rId8"/>
    <p:sldId id="425" r:id="rId9"/>
    <p:sldId id="408" r:id="rId10"/>
    <p:sldId id="1992" r:id="rId11"/>
    <p:sldId id="1999" r:id="rId12"/>
    <p:sldId id="1986" r:id="rId13"/>
    <p:sldId id="1987" r:id="rId14"/>
    <p:sldId id="418" r:id="rId15"/>
    <p:sldId id="1988" r:id="rId16"/>
    <p:sldId id="1993" r:id="rId17"/>
    <p:sldId id="1989" r:id="rId18"/>
    <p:sldId id="1985" r:id="rId19"/>
    <p:sldId id="1990" r:id="rId20"/>
    <p:sldId id="1998" r:id="rId21"/>
    <p:sldId id="1994" r:id="rId22"/>
    <p:sldId id="1991" r:id="rId23"/>
    <p:sldId id="1996" r:id="rId24"/>
    <p:sldId id="426" r:id="rId25"/>
    <p:sldId id="427" r:id="rId26"/>
    <p:sldId id="428" r:id="rId27"/>
  </p:sldIdLst>
  <p:sldSz cx="12436475" cy="6994525"/>
  <p:notesSz cx="6858000" cy="20193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29B20ED-12AE-4712-B960-47E4B6DC40EA}">
          <p14:sldIdLst>
            <p14:sldId id="406"/>
            <p14:sldId id="1997"/>
            <p14:sldId id="425"/>
            <p14:sldId id="408"/>
            <p14:sldId id="1992"/>
            <p14:sldId id="1999"/>
            <p14:sldId id="1986"/>
            <p14:sldId id="1987"/>
            <p14:sldId id="418"/>
            <p14:sldId id="1988"/>
          </p14:sldIdLst>
        </p14:section>
        <p14:section name="Screens" id="{888D21F5-8E95-4D96-A95C-EFB15FA5AAD2}">
          <p14:sldIdLst>
            <p14:sldId id="1993"/>
            <p14:sldId id="1989"/>
            <p14:sldId id="1985"/>
            <p14:sldId id="1990"/>
            <p14:sldId id="1998"/>
          </p14:sldIdLst>
        </p14:section>
        <p14:section name="Navigation" id="{B5619F58-A338-4F6E-9B1E-7D9B0E6B1175}">
          <p14:sldIdLst>
            <p14:sldId id="1994"/>
            <p14:sldId id="1991"/>
          </p14:sldIdLst>
        </p14:section>
        <p14:section name="Lab" id="{571D9A4F-F4BB-464D-B536-F7EBA5F40BAF}">
          <p14:sldIdLst>
            <p14:sldId id="1996"/>
            <p14:sldId id="426"/>
            <p14:sldId id="427"/>
            <p14:sldId id="4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AB6034-CB6F-2062-1CF2-E5A3E36603AC}" name="Matias Rama" initials="MR" userId="S::matrs@microsoft.com::bdb996b8-8278-412a-926d-fa225ff77c33" providerId="AD"/>
  <p188:author id="{2B5593C9-F2B6-30DD-4223-2A5BDAEF44D7}" name="Gilbert Nickelson" initials="GN" userId="S::gilbertn@microsoft.com::736df813-e39d-4bfb-9090-01d3a22ed6a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Tony Carmalitano" initials="TC" lastIdx="6" clrIdx="5">
    <p:extLst>
      <p:ext uri="{19B8F6BF-5375-455C-9EA6-DF929625EA0E}">
        <p15:presenceInfo xmlns:p15="http://schemas.microsoft.com/office/powerpoint/2012/main" userId="S-1-5-21-124525095-708259637-1543119021-1678611" providerId="AD"/>
      </p:ext>
    </p:extLst>
  </p:cmAuthor>
  <p:cmAuthor id="6" name="Brian Jackett" initials="BJ" lastIdx="1" clrIdx="6">
    <p:extLst>
      <p:ext uri="{19B8F6BF-5375-455C-9EA6-DF929625EA0E}">
        <p15:presenceInfo xmlns:p15="http://schemas.microsoft.com/office/powerpoint/2012/main" userId="S-1-5-21-124525095-708259637-1543119021-11470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66" autoAdjust="0"/>
    <p:restoredTop sz="70378" autoAdjust="0"/>
  </p:normalViewPr>
  <p:slideViewPr>
    <p:cSldViewPr>
      <p:cViewPr varScale="1">
        <p:scale>
          <a:sx n="79" d="100"/>
          <a:sy n="79" d="100"/>
        </p:scale>
        <p:origin x="675"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130" d="100"/>
          <a:sy n="130" d="100"/>
        </p:scale>
        <p:origin x="2922" y="-252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providerId="Windows Live" clId="Web-{D8247959-2A5B-4428-AB9D-6B50488F357C}"/>
    <pc:docChg chg="addSld modSld modSection">
      <pc:chgData name="Guest User" userId="" providerId="Windows Live" clId="Web-{D8247959-2A5B-4428-AB9D-6B50488F357C}" dt="2020-08-24T23:45:22.617" v="1"/>
      <pc:docMkLst>
        <pc:docMk/>
      </pc:docMkLst>
      <pc:sldChg chg="modSp">
        <pc:chgData name="Guest User" userId="" providerId="Windows Live" clId="Web-{D8247959-2A5B-4428-AB9D-6B50488F357C}" dt="2020-08-24T23:11:48.929" v="0"/>
        <pc:sldMkLst>
          <pc:docMk/>
          <pc:sldMk cId="616292797" sldId="406"/>
        </pc:sldMkLst>
        <pc:spChg chg="mod">
          <ac:chgData name="Guest User" userId="" providerId="Windows Live" clId="Web-{D8247959-2A5B-4428-AB9D-6B50488F357C}" dt="2020-08-24T23:11:48.929" v="0"/>
          <ac:spMkLst>
            <pc:docMk/>
            <pc:sldMk cId="616292797" sldId="406"/>
            <ac:spMk id="2" creationId="{00000000-0000-0000-0000-000000000000}"/>
          </ac:spMkLst>
        </pc:spChg>
      </pc:sldChg>
      <pc:sldChg chg="new">
        <pc:chgData name="Guest User" userId="" providerId="Windows Live" clId="Web-{D8247959-2A5B-4428-AB9D-6B50488F357C}" dt="2020-08-24T23:45:22.617" v="1"/>
        <pc:sldMkLst>
          <pc:docMk/>
          <pc:sldMk cId="404508634" sldId="1998"/>
        </pc:sldMkLst>
      </pc:sldChg>
    </pc:docChg>
  </pc:docChgLst>
  <pc:docChgLst>
    <pc:chgData name="Rishabh Mathur" userId="085a90ad-ff62-452d-9cc6-fb668aecc57d" providerId="ADAL" clId="{253A6A86-103F-46A7-B071-20AC69FA6773}"/>
    <pc:docChg chg="modSld">
      <pc:chgData name="Rishabh Mathur" userId="085a90ad-ff62-452d-9cc6-fb668aecc57d" providerId="ADAL" clId="{253A6A86-103F-46A7-B071-20AC69FA6773}" dt="2020-05-01T17:56:48.149" v="0" actId="6549"/>
      <pc:docMkLst>
        <pc:docMk/>
      </pc:docMkLst>
      <pc:sldChg chg="modSp mod">
        <pc:chgData name="Rishabh Mathur" userId="085a90ad-ff62-452d-9cc6-fb668aecc57d" providerId="ADAL" clId="{253A6A86-103F-46A7-B071-20AC69FA6773}" dt="2020-05-01T17:56:48.149" v="0" actId="6549"/>
        <pc:sldMkLst>
          <pc:docMk/>
          <pc:sldMk cId="616292797" sldId="406"/>
        </pc:sldMkLst>
        <pc:spChg chg="mod">
          <ac:chgData name="Rishabh Mathur" userId="085a90ad-ff62-452d-9cc6-fb668aecc57d" providerId="ADAL" clId="{253A6A86-103F-46A7-B071-20AC69FA6773}" dt="2020-05-01T17:56:48.149" v="0" actId="6549"/>
          <ac:spMkLst>
            <pc:docMk/>
            <pc:sldMk cId="616292797" sldId="406"/>
            <ac:spMk id="2" creationId="{00000000-0000-0000-0000-000000000000}"/>
          </ac:spMkLst>
        </pc:spChg>
      </pc:sldChg>
    </pc:docChg>
  </pc:docChgLst>
  <pc:docChgLst>
    <pc:chgData name="Christopher Weaver" userId="S::christwe@microsoft.com::2d47d5c7-389a-4b91-8fc5-dfad12ad20c7" providerId="AD" clId="Web-{E26ED2E7-5A84-05F8-8A81-36926A494161}"/>
    <pc:docChg chg="modSld">
      <pc:chgData name="Christopher Weaver" userId="S::christwe@microsoft.com::2d47d5c7-389a-4b91-8fc5-dfad12ad20c7" providerId="AD" clId="Web-{E26ED2E7-5A84-05F8-8A81-36926A494161}" dt="2020-01-30T21:08:49.720" v="0"/>
      <pc:docMkLst>
        <pc:docMk/>
      </pc:docMkLst>
      <pc:sldChg chg="modNotes">
        <pc:chgData name="Christopher Weaver" userId="S::christwe@microsoft.com::2d47d5c7-389a-4b91-8fc5-dfad12ad20c7" providerId="AD" clId="Web-{E26ED2E7-5A84-05F8-8A81-36926A494161}" dt="2020-01-30T21:08:49.720" v="0"/>
        <pc:sldMkLst>
          <pc:docMk/>
          <pc:sldMk cId="3980266769" sldId="381"/>
        </pc:sldMkLst>
      </pc:sldChg>
    </pc:docChg>
  </pc:docChgLst>
  <pc:docChgLst>
    <pc:chgData name="Christopher Weaver" userId="2d47d5c7-389a-4b91-8fc5-dfad12ad20c7" providerId="ADAL" clId="{1D7979BE-34B0-4F3E-A0C2-74CD0B05A500}"/>
    <pc:docChg chg="undo custSel addSld delSld modSld modSection">
      <pc:chgData name="Christopher Weaver" userId="2d47d5c7-389a-4b91-8fc5-dfad12ad20c7" providerId="ADAL" clId="{1D7979BE-34B0-4F3E-A0C2-74CD0B05A500}" dt="2020-07-31T14:36:15.341" v="116" actId="113"/>
      <pc:docMkLst>
        <pc:docMk/>
      </pc:docMkLst>
      <pc:sldChg chg="addSp delSp modSp del mod modNotesTx">
        <pc:chgData name="Christopher Weaver" userId="2d47d5c7-389a-4b91-8fc5-dfad12ad20c7" providerId="ADAL" clId="{1D7979BE-34B0-4F3E-A0C2-74CD0B05A500}" dt="2020-07-31T14:34:57.765" v="93" actId="2696"/>
        <pc:sldMkLst>
          <pc:docMk/>
          <pc:sldMk cId="2586618861" sldId="1984"/>
        </pc:sldMkLst>
        <pc:spChg chg="del">
          <ac:chgData name="Christopher Weaver" userId="2d47d5c7-389a-4b91-8fc5-dfad12ad20c7" providerId="ADAL" clId="{1D7979BE-34B0-4F3E-A0C2-74CD0B05A500}" dt="2020-07-31T14:32:30.069" v="12" actId="478"/>
          <ac:spMkLst>
            <pc:docMk/>
            <pc:sldMk cId="2586618861" sldId="1984"/>
            <ac:spMk id="2" creationId="{00000000-0000-0000-0000-000000000000}"/>
          </ac:spMkLst>
        </pc:spChg>
        <pc:spChg chg="mod">
          <ac:chgData name="Christopher Weaver" userId="2d47d5c7-389a-4b91-8fc5-dfad12ad20c7" providerId="ADAL" clId="{1D7979BE-34B0-4F3E-A0C2-74CD0B05A500}" dt="2020-07-31T14:34:57.119" v="91" actId="12"/>
          <ac:spMkLst>
            <pc:docMk/>
            <pc:sldMk cId="2586618861" sldId="1984"/>
            <ac:spMk id="4" creationId="{00000000-0000-0000-0000-000000000000}"/>
          </ac:spMkLst>
        </pc:spChg>
        <pc:spChg chg="add mod">
          <ac:chgData name="Christopher Weaver" userId="2d47d5c7-389a-4b91-8fc5-dfad12ad20c7" providerId="ADAL" clId="{1D7979BE-34B0-4F3E-A0C2-74CD0B05A500}" dt="2020-07-31T14:33:01.276" v="68" actId="20577"/>
          <ac:spMkLst>
            <pc:docMk/>
            <pc:sldMk cId="2586618861" sldId="1984"/>
            <ac:spMk id="5" creationId="{CCD53B05-DBF9-455D-8DE1-8FA8E65E9678}"/>
          </ac:spMkLst>
        </pc:spChg>
        <pc:spChg chg="add del mod">
          <ac:chgData name="Christopher Weaver" userId="2d47d5c7-389a-4b91-8fc5-dfad12ad20c7" providerId="ADAL" clId="{1D7979BE-34B0-4F3E-A0C2-74CD0B05A500}" dt="2020-07-31T14:32:34.201" v="13" actId="478"/>
          <ac:spMkLst>
            <pc:docMk/>
            <pc:sldMk cId="2586618861" sldId="1984"/>
            <ac:spMk id="6" creationId="{4B26F7A3-7689-4F57-BCA6-8CA6AA9DEA38}"/>
          </ac:spMkLst>
        </pc:spChg>
      </pc:sldChg>
      <pc:sldChg chg="delSp mod modCm">
        <pc:chgData name="Christopher Weaver" userId="2d47d5c7-389a-4b91-8fc5-dfad12ad20c7" providerId="ADAL" clId="{1D7979BE-34B0-4F3E-A0C2-74CD0B05A500}" dt="2020-07-31T14:25:03.962" v="2" actId="2056"/>
        <pc:sldMkLst>
          <pc:docMk/>
          <pc:sldMk cId="3081173804" sldId="1986"/>
        </pc:sldMkLst>
        <pc:spChg chg="del">
          <ac:chgData name="Christopher Weaver" userId="2d47d5c7-389a-4b91-8fc5-dfad12ad20c7" providerId="ADAL" clId="{1D7979BE-34B0-4F3E-A0C2-74CD0B05A500}" dt="2020-07-31T14:25:03.939" v="1" actId="478"/>
          <ac:spMkLst>
            <pc:docMk/>
            <pc:sldMk cId="3081173804" sldId="1986"/>
            <ac:spMk id="5" creationId="{C05DDE8C-D903-4649-8187-4B3A6C0527F2}"/>
          </ac:spMkLst>
        </pc:spChg>
      </pc:sldChg>
      <pc:sldChg chg="delSp mod">
        <pc:chgData name="Christopher Weaver" userId="2d47d5c7-389a-4b91-8fc5-dfad12ad20c7" providerId="ADAL" clId="{1D7979BE-34B0-4F3E-A0C2-74CD0B05A500}" dt="2020-07-31T14:25:12.347" v="3" actId="478"/>
        <pc:sldMkLst>
          <pc:docMk/>
          <pc:sldMk cId="2397058738" sldId="1987"/>
        </pc:sldMkLst>
        <pc:spChg chg="del">
          <ac:chgData name="Christopher Weaver" userId="2d47d5c7-389a-4b91-8fc5-dfad12ad20c7" providerId="ADAL" clId="{1D7979BE-34B0-4F3E-A0C2-74CD0B05A500}" dt="2020-07-31T14:25:12.347" v="3" actId="478"/>
          <ac:spMkLst>
            <pc:docMk/>
            <pc:sldMk cId="2397058738" sldId="1987"/>
            <ac:spMk id="2" creationId="{9AD53B02-CD60-4933-B99F-65101A35143F}"/>
          </ac:spMkLst>
        </pc:spChg>
      </pc:sldChg>
      <pc:sldChg chg="delSp mod">
        <pc:chgData name="Christopher Weaver" userId="2d47d5c7-389a-4b91-8fc5-dfad12ad20c7" providerId="ADAL" clId="{1D7979BE-34B0-4F3E-A0C2-74CD0B05A500}" dt="2020-07-31T14:25:17.623" v="4" actId="478"/>
        <pc:sldMkLst>
          <pc:docMk/>
          <pc:sldMk cId="3711151781" sldId="1988"/>
        </pc:sldMkLst>
        <pc:spChg chg="del">
          <ac:chgData name="Christopher Weaver" userId="2d47d5c7-389a-4b91-8fc5-dfad12ad20c7" providerId="ADAL" clId="{1D7979BE-34B0-4F3E-A0C2-74CD0B05A500}" dt="2020-07-31T14:25:17.623" v="4" actId="478"/>
          <ac:spMkLst>
            <pc:docMk/>
            <pc:sldMk cId="3711151781" sldId="1988"/>
            <ac:spMk id="2" creationId="{1E0A3839-BD88-4BFB-99B5-F3EACBA0E737}"/>
          </ac:spMkLst>
        </pc:spChg>
      </pc:sldChg>
      <pc:sldChg chg="delSp mod">
        <pc:chgData name="Christopher Weaver" userId="2d47d5c7-389a-4b91-8fc5-dfad12ad20c7" providerId="ADAL" clId="{1D7979BE-34B0-4F3E-A0C2-74CD0B05A500}" dt="2020-07-31T14:25:31.037" v="6" actId="478"/>
        <pc:sldMkLst>
          <pc:docMk/>
          <pc:sldMk cId="4093496454" sldId="1989"/>
        </pc:sldMkLst>
        <pc:spChg chg="del">
          <ac:chgData name="Christopher Weaver" userId="2d47d5c7-389a-4b91-8fc5-dfad12ad20c7" providerId="ADAL" clId="{1D7979BE-34B0-4F3E-A0C2-74CD0B05A500}" dt="2020-07-31T14:25:31.037" v="6" actId="478"/>
          <ac:spMkLst>
            <pc:docMk/>
            <pc:sldMk cId="4093496454" sldId="1989"/>
            <ac:spMk id="3" creationId="{55A17191-747B-4A56-B48B-06C7051A70EB}"/>
          </ac:spMkLst>
        </pc:spChg>
      </pc:sldChg>
      <pc:sldChg chg="delSp mod">
        <pc:chgData name="Christopher Weaver" userId="2d47d5c7-389a-4b91-8fc5-dfad12ad20c7" providerId="ADAL" clId="{1D7979BE-34B0-4F3E-A0C2-74CD0B05A500}" dt="2020-07-31T14:25:38.746" v="7" actId="478"/>
        <pc:sldMkLst>
          <pc:docMk/>
          <pc:sldMk cId="1674848170" sldId="1990"/>
        </pc:sldMkLst>
        <pc:spChg chg="del">
          <ac:chgData name="Christopher Weaver" userId="2d47d5c7-389a-4b91-8fc5-dfad12ad20c7" providerId="ADAL" clId="{1D7979BE-34B0-4F3E-A0C2-74CD0B05A500}" dt="2020-07-31T14:25:38.746" v="7" actId="478"/>
          <ac:spMkLst>
            <pc:docMk/>
            <pc:sldMk cId="1674848170" sldId="1990"/>
            <ac:spMk id="4" creationId="{DFFFDDF6-7B07-4F9C-8D19-2D70C5106804}"/>
          </ac:spMkLst>
        </pc:spChg>
      </pc:sldChg>
      <pc:sldChg chg="delSp mod">
        <pc:chgData name="Christopher Weaver" userId="2d47d5c7-389a-4b91-8fc5-dfad12ad20c7" providerId="ADAL" clId="{1D7979BE-34B0-4F3E-A0C2-74CD0B05A500}" dt="2020-07-31T14:25:57.243" v="9" actId="478"/>
        <pc:sldMkLst>
          <pc:docMk/>
          <pc:sldMk cId="3851442531" sldId="1991"/>
        </pc:sldMkLst>
        <pc:spChg chg="del">
          <ac:chgData name="Christopher Weaver" userId="2d47d5c7-389a-4b91-8fc5-dfad12ad20c7" providerId="ADAL" clId="{1D7979BE-34B0-4F3E-A0C2-74CD0B05A500}" dt="2020-07-31T14:25:57.243" v="9" actId="478"/>
          <ac:spMkLst>
            <pc:docMk/>
            <pc:sldMk cId="3851442531" sldId="1991"/>
            <ac:spMk id="6" creationId="{EDB7C0B7-BE7E-4204-A727-B885A4B00918}"/>
          </ac:spMkLst>
        </pc:spChg>
      </pc:sldChg>
      <pc:sldChg chg="delSp mod">
        <pc:chgData name="Christopher Weaver" userId="2d47d5c7-389a-4b91-8fc5-dfad12ad20c7" providerId="ADAL" clId="{1D7979BE-34B0-4F3E-A0C2-74CD0B05A500}" dt="2020-07-31T14:24:48.081" v="0" actId="478"/>
        <pc:sldMkLst>
          <pc:docMk/>
          <pc:sldMk cId="829854860" sldId="1992"/>
        </pc:sldMkLst>
        <pc:spChg chg="del">
          <ac:chgData name="Christopher Weaver" userId="2d47d5c7-389a-4b91-8fc5-dfad12ad20c7" providerId="ADAL" clId="{1D7979BE-34B0-4F3E-A0C2-74CD0B05A500}" dt="2020-07-31T14:24:48.081" v="0" actId="478"/>
          <ac:spMkLst>
            <pc:docMk/>
            <pc:sldMk cId="829854860" sldId="1992"/>
            <ac:spMk id="4" creationId="{E1F5F968-31D4-4409-BB85-C79F2BE4BAA6}"/>
          </ac:spMkLst>
        </pc:spChg>
      </pc:sldChg>
      <pc:sldChg chg="delSp mod">
        <pc:chgData name="Christopher Weaver" userId="2d47d5c7-389a-4b91-8fc5-dfad12ad20c7" providerId="ADAL" clId="{1D7979BE-34B0-4F3E-A0C2-74CD0B05A500}" dt="2020-07-31T14:25:25.421" v="5" actId="478"/>
        <pc:sldMkLst>
          <pc:docMk/>
          <pc:sldMk cId="1887220588" sldId="1993"/>
        </pc:sldMkLst>
        <pc:spChg chg="del">
          <ac:chgData name="Christopher Weaver" userId="2d47d5c7-389a-4b91-8fc5-dfad12ad20c7" providerId="ADAL" clId="{1D7979BE-34B0-4F3E-A0C2-74CD0B05A500}" dt="2020-07-31T14:25:25.421" v="5" actId="478"/>
          <ac:spMkLst>
            <pc:docMk/>
            <pc:sldMk cId="1887220588" sldId="1993"/>
            <ac:spMk id="4" creationId="{D4500508-199B-4350-8FE7-03E23CBDBADF}"/>
          </ac:spMkLst>
        </pc:spChg>
      </pc:sldChg>
      <pc:sldChg chg="delSp mod">
        <pc:chgData name="Christopher Weaver" userId="2d47d5c7-389a-4b91-8fc5-dfad12ad20c7" providerId="ADAL" clId="{1D7979BE-34B0-4F3E-A0C2-74CD0B05A500}" dt="2020-07-31T14:25:52.799" v="8" actId="478"/>
        <pc:sldMkLst>
          <pc:docMk/>
          <pc:sldMk cId="1437757327" sldId="1994"/>
        </pc:sldMkLst>
        <pc:spChg chg="del">
          <ac:chgData name="Christopher Weaver" userId="2d47d5c7-389a-4b91-8fc5-dfad12ad20c7" providerId="ADAL" clId="{1D7979BE-34B0-4F3E-A0C2-74CD0B05A500}" dt="2020-07-31T14:25:52.799" v="8" actId="478"/>
          <ac:spMkLst>
            <pc:docMk/>
            <pc:sldMk cId="1437757327" sldId="1994"/>
            <ac:spMk id="4" creationId="{80B7EB78-F06D-47DF-A1B9-0013E00A097D}"/>
          </ac:spMkLst>
        </pc:spChg>
      </pc:sldChg>
      <pc:sldChg chg="modSp add del mod">
        <pc:chgData name="Christopher Weaver" userId="2d47d5c7-389a-4b91-8fc5-dfad12ad20c7" providerId="ADAL" clId="{1D7979BE-34B0-4F3E-A0C2-74CD0B05A500}" dt="2020-07-31T14:35:03.732" v="99" actId="2696"/>
        <pc:sldMkLst>
          <pc:docMk/>
          <pc:sldMk cId="1083081210" sldId="1995"/>
        </pc:sldMkLst>
        <pc:spChg chg="mod">
          <ac:chgData name="Christopher Weaver" userId="2d47d5c7-389a-4b91-8fc5-dfad12ad20c7" providerId="ADAL" clId="{1D7979BE-34B0-4F3E-A0C2-74CD0B05A500}" dt="2020-07-31T14:35:03.184" v="97" actId="12"/>
          <ac:spMkLst>
            <pc:docMk/>
            <pc:sldMk cId="1083081210" sldId="1995"/>
            <ac:spMk id="4" creationId="{00000000-0000-0000-0000-000000000000}"/>
          </ac:spMkLst>
        </pc:spChg>
      </pc:sldChg>
      <pc:sldChg chg="modSp add mod">
        <pc:chgData name="Christopher Weaver" userId="2d47d5c7-389a-4b91-8fc5-dfad12ad20c7" providerId="ADAL" clId="{1D7979BE-34B0-4F3E-A0C2-74CD0B05A500}" dt="2020-07-31T14:36:15.341" v="116" actId="113"/>
        <pc:sldMkLst>
          <pc:docMk/>
          <pc:sldMk cId="1796922269" sldId="1996"/>
        </pc:sldMkLst>
        <pc:spChg chg="mod">
          <ac:chgData name="Christopher Weaver" userId="2d47d5c7-389a-4b91-8fc5-dfad12ad20c7" providerId="ADAL" clId="{1D7979BE-34B0-4F3E-A0C2-74CD0B05A500}" dt="2020-07-31T14:36:15.341" v="116" actId="113"/>
          <ac:spMkLst>
            <pc:docMk/>
            <pc:sldMk cId="1796922269" sldId="1996"/>
            <ac:spMk id="4" creationId="{00000000-0000-0000-0000-000000000000}"/>
          </ac:spMkLst>
        </pc:spChg>
        <pc:spChg chg="mod">
          <ac:chgData name="Christopher Weaver" userId="2d47d5c7-389a-4b91-8fc5-dfad12ad20c7" providerId="ADAL" clId="{1D7979BE-34B0-4F3E-A0C2-74CD0B05A500}" dt="2020-07-31T14:36:09.738" v="114" actId="1076"/>
          <ac:spMkLst>
            <pc:docMk/>
            <pc:sldMk cId="1796922269" sldId="1996"/>
            <ac:spMk id="5" creationId="{CCD53B05-DBF9-455D-8DE1-8FA8E65E9678}"/>
          </ac:spMkLst>
        </pc:spChg>
      </pc:sldChg>
    </pc:docChg>
  </pc:docChgLst>
  <pc:docChgLst>
    <pc:chgData name="Rishabh Mathur" userId="S::rimathur@microsoft.com::085a90ad-ff62-452d-9cc6-fb668aecc57d" providerId="AD" clId="Web-{C6DCDE42-18A4-5198-E4A0-D22F9EBCFAE0}"/>
    <pc:docChg chg="modSld">
      <pc:chgData name="Rishabh Mathur" userId="S::rimathur@microsoft.com::085a90ad-ff62-452d-9cc6-fb668aecc57d" providerId="AD" clId="Web-{C6DCDE42-18A4-5198-E4A0-D22F9EBCFAE0}" dt="2020-03-04T17:00:40.759" v="35" actId="20577"/>
      <pc:docMkLst>
        <pc:docMk/>
      </pc:docMkLst>
      <pc:sldChg chg="modSp">
        <pc:chgData name="Rishabh Mathur" userId="S::rimathur@microsoft.com::085a90ad-ff62-452d-9cc6-fb668aecc57d" providerId="AD" clId="Web-{C6DCDE42-18A4-5198-E4A0-D22F9EBCFAE0}" dt="2020-03-04T17:00:40.759" v="34" actId="20577"/>
        <pc:sldMkLst>
          <pc:docMk/>
          <pc:sldMk cId="3486571688" sldId="426"/>
        </pc:sldMkLst>
        <pc:spChg chg="mod">
          <ac:chgData name="Rishabh Mathur" userId="S::rimathur@microsoft.com::085a90ad-ff62-452d-9cc6-fb668aecc57d" providerId="AD" clId="Web-{C6DCDE42-18A4-5198-E4A0-D22F9EBCFAE0}" dt="2020-03-04T17:00:40.759" v="34" actId="20577"/>
          <ac:spMkLst>
            <pc:docMk/>
            <pc:sldMk cId="3486571688" sldId="426"/>
            <ac:spMk id="2" creationId="{9010681A-0D45-41F6-BE85-00C7915E7027}"/>
          </ac:spMkLst>
        </pc:spChg>
      </pc:sldChg>
    </pc:docChg>
  </pc:docChgLst>
  <pc:docChgLst>
    <pc:chgData name="Christopher Weaver" userId="2d47d5c7-389a-4b91-8fc5-dfad12ad20c7" providerId="ADAL" clId="{70018DEB-B5EB-4514-8E8A-62F649186FBA}"/>
    <pc:docChg chg="undo custSel addSld modSld">
      <pc:chgData name="Christopher Weaver" userId="2d47d5c7-389a-4b91-8fc5-dfad12ad20c7" providerId="ADAL" clId="{70018DEB-B5EB-4514-8E8A-62F649186FBA}" dt="2020-01-24T16:41:54.798" v="1075" actId="1076"/>
      <pc:docMkLst>
        <pc:docMk/>
      </pc:docMkLst>
      <pc:sldChg chg="addSp delSp modSp modTransition modNotesTx">
        <pc:chgData name="Christopher Weaver" userId="2d47d5c7-389a-4b91-8fc5-dfad12ad20c7" providerId="ADAL" clId="{70018DEB-B5EB-4514-8E8A-62F649186FBA}" dt="2020-01-23T21:33:38.442" v="326"/>
        <pc:sldMkLst>
          <pc:docMk/>
          <pc:sldMk cId="2744750839" sldId="365"/>
        </pc:sldMkLst>
        <pc:spChg chg="del">
          <ac:chgData name="Christopher Weaver" userId="2d47d5c7-389a-4b91-8fc5-dfad12ad20c7" providerId="ADAL" clId="{70018DEB-B5EB-4514-8E8A-62F649186FBA}" dt="2020-01-23T21:01:20.270" v="73" actId="478"/>
          <ac:spMkLst>
            <pc:docMk/>
            <pc:sldMk cId="2744750839" sldId="365"/>
            <ac:spMk id="16" creationId="{00000000-0000-0000-0000-000000000000}"/>
          </ac:spMkLst>
        </pc:spChg>
        <pc:picChg chg="add del mod">
          <ac:chgData name="Christopher Weaver" userId="2d47d5c7-389a-4b91-8fc5-dfad12ad20c7" providerId="ADAL" clId="{70018DEB-B5EB-4514-8E8A-62F649186FBA}" dt="2020-01-23T21:23:33.249" v="288"/>
          <ac:picMkLst>
            <pc:docMk/>
            <pc:sldMk cId="2744750839" sldId="365"/>
            <ac:picMk id="3" creationId="{0A461339-0DA7-443A-A47F-440AD72A447F}"/>
          </ac:picMkLst>
        </pc:picChg>
        <pc:picChg chg="del">
          <ac:chgData name="Christopher Weaver" userId="2d47d5c7-389a-4b91-8fc5-dfad12ad20c7" providerId="ADAL" clId="{70018DEB-B5EB-4514-8E8A-62F649186FBA}" dt="2020-01-23T21:00:51.175" v="66" actId="478"/>
          <ac:picMkLst>
            <pc:docMk/>
            <pc:sldMk cId="2744750839" sldId="365"/>
            <ac:picMk id="4" creationId="{00000000-0000-0000-0000-000000000000}"/>
          </ac:picMkLst>
        </pc:picChg>
        <pc:picChg chg="add mod">
          <ac:chgData name="Christopher Weaver" userId="2d47d5c7-389a-4b91-8fc5-dfad12ad20c7" providerId="ADAL" clId="{70018DEB-B5EB-4514-8E8A-62F649186FBA}" dt="2020-01-23T21:32:00.744" v="325" actId="14100"/>
          <ac:picMkLst>
            <pc:docMk/>
            <pc:sldMk cId="2744750839" sldId="365"/>
            <ac:picMk id="5" creationId="{BAE5919F-E859-425F-9E22-FEB80E73954F}"/>
          </ac:picMkLst>
        </pc:picChg>
        <pc:cxnChg chg="del">
          <ac:chgData name="Christopher Weaver" userId="2d47d5c7-389a-4b91-8fc5-dfad12ad20c7" providerId="ADAL" clId="{70018DEB-B5EB-4514-8E8A-62F649186FBA}" dt="2020-01-23T21:01:07.176" v="71" actId="478"/>
          <ac:cxnSpMkLst>
            <pc:docMk/>
            <pc:sldMk cId="2744750839" sldId="365"/>
            <ac:cxnSpMk id="8" creationId="{00000000-0000-0000-0000-000000000000}"/>
          </ac:cxnSpMkLst>
        </pc:cxnChg>
        <pc:cxnChg chg="del">
          <ac:chgData name="Christopher Weaver" userId="2d47d5c7-389a-4b91-8fc5-dfad12ad20c7" providerId="ADAL" clId="{70018DEB-B5EB-4514-8E8A-62F649186FBA}" dt="2020-01-23T21:01:04.320" v="70" actId="478"/>
          <ac:cxnSpMkLst>
            <pc:docMk/>
            <pc:sldMk cId="2744750839" sldId="365"/>
            <ac:cxnSpMk id="9" creationId="{00000000-0000-0000-0000-000000000000}"/>
          </ac:cxnSpMkLst>
        </pc:cxnChg>
        <pc:cxnChg chg="del">
          <ac:chgData name="Christopher Weaver" userId="2d47d5c7-389a-4b91-8fc5-dfad12ad20c7" providerId="ADAL" clId="{70018DEB-B5EB-4514-8E8A-62F649186FBA}" dt="2020-01-23T21:01:00.780" v="69" actId="478"/>
          <ac:cxnSpMkLst>
            <pc:docMk/>
            <pc:sldMk cId="2744750839" sldId="365"/>
            <ac:cxnSpMk id="12" creationId="{00000000-0000-0000-0000-000000000000}"/>
          </ac:cxnSpMkLst>
        </pc:cxnChg>
      </pc:sldChg>
      <pc:sldChg chg="addSp delSp modSp modNotesTx">
        <pc:chgData name="Christopher Weaver" userId="2d47d5c7-389a-4b91-8fc5-dfad12ad20c7" providerId="ADAL" clId="{70018DEB-B5EB-4514-8E8A-62F649186FBA}" dt="2020-01-24T16:41:54.798" v="1075" actId="1076"/>
        <pc:sldMkLst>
          <pc:docMk/>
          <pc:sldMk cId="3980266769" sldId="381"/>
        </pc:sldMkLst>
        <pc:spChg chg="mod">
          <ac:chgData name="Christopher Weaver" userId="2d47d5c7-389a-4b91-8fc5-dfad12ad20c7" providerId="ADAL" clId="{70018DEB-B5EB-4514-8E8A-62F649186FBA}" dt="2020-01-24T16:41:54.798" v="1075" actId="1076"/>
          <ac:spMkLst>
            <pc:docMk/>
            <pc:sldMk cId="3980266769" sldId="381"/>
            <ac:spMk id="3" creationId="{00000000-0000-0000-0000-000000000000}"/>
          </ac:spMkLst>
        </pc:spChg>
        <pc:picChg chg="add del mod">
          <ac:chgData name="Christopher Weaver" userId="2d47d5c7-389a-4b91-8fc5-dfad12ad20c7" providerId="ADAL" clId="{70018DEB-B5EB-4514-8E8A-62F649186FBA}" dt="2020-01-24T16:41:38.262" v="1071" actId="478"/>
          <ac:picMkLst>
            <pc:docMk/>
            <pc:sldMk cId="3980266769" sldId="381"/>
            <ac:picMk id="4" creationId="{2449683A-8975-4916-B99E-A934795D43F1}"/>
          </ac:picMkLst>
        </pc:picChg>
        <pc:picChg chg="add mod">
          <ac:chgData name="Christopher Weaver" userId="2d47d5c7-389a-4b91-8fc5-dfad12ad20c7" providerId="ADAL" clId="{70018DEB-B5EB-4514-8E8A-62F649186FBA}" dt="2020-01-24T16:41:48.925" v="1074" actId="14100"/>
          <ac:picMkLst>
            <pc:docMk/>
            <pc:sldMk cId="3980266769" sldId="381"/>
            <ac:picMk id="5" creationId="{44A27E97-26DA-4B85-9B58-5237BBF09A31}"/>
          </ac:picMkLst>
        </pc:picChg>
        <pc:picChg chg="del">
          <ac:chgData name="Christopher Weaver" userId="2d47d5c7-389a-4b91-8fc5-dfad12ad20c7" providerId="ADAL" clId="{70018DEB-B5EB-4514-8E8A-62F649186FBA}" dt="2020-01-24T16:32:15.061" v="965" actId="478"/>
          <ac:picMkLst>
            <pc:docMk/>
            <pc:sldMk cId="3980266769" sldId="381"/>
            <ac:picMk id="6" creationId="{BA860A3D-5660-4B8C-8C1F-67866ABC39F7}"/>
          </ac:picMkLst>
        </pc:picChg>
      </pc:sldChg>
      <pc:sldChg chg="modSp">
        <pc:chgData name="Christopher Weaver" userId="2d47d5c7-389a-4b91-8fc5-dfad12ad20c7" providerId="ADAL" clId="{70018DEB-B5EB-4514-8E8A-62F649186FBA}" dt="2020-01-23T20:43:44.299" v="23" actId="20577"/>
        <pc:sldMkLst>
          <pc:docMk/>
          <pc:sldMk cId="6914788" sldId="418"/>
        </pc:sldMkLst>
        <pc:spChg chg="mod">
          <ac:chgData name="Christopher Weaver" userId="2d47d5c7-389a-4b91-8fc5-dfad12ad20c7" providerId="ADAL" clId="{70018DEB-B5EB-4514-8E8A-62F649186FBA}" dt="2020-01-23T20:43:44.299" v="23" actId="20577"/>
          <ac:spMkLst>
            <pc:docMk/>
            <pc:sldMk cId="6914788" sldId="418"/>
            <ac:spMk id="2" creationId="{C8D1F36B-668C-425E-9C99-F45BD1518015}"/>
          </ac:spMkLst>
        </pc:spChg>
      </pc:sldChg>
      <pc:sldChg chg="addSp delSp modSp">
        <pc:chgData name="Christopher Weaver" userId="2d47d5c7-389a-4b91-8fc5-dfad12ad20c7" providerId="ADAL" clId="{70018DEB-B5EB-4514-8E8A-62F649186FBA}" dt="2020-01-23T20:52:05.455" v="65" actId="1076"/>
        <pc:sldMkLst>
          <pc:docMk/>
          <pc:sldMk cId="369063657" sldId="422"/>
        </pc:sldMkLst>
        <pc:spChg chg="add del mod">
          <ac:chgData name="Christopher Weaver" userId="2d47d5c7-389a-4b91-8fc5-dfad12ad20c7" providerId="ADAL" clId="{70018DEB-B5EB-4514-8E8A-62F649186FBA}" dt="2020-01-23T20:46:23.854" v="38"/>
          <ac:spMkLst>
            <pc:docMk/>
            <pc:sldMk cId="369063657" sldId="422"/>
            <ac:spMk id="2" creationId="{F13AAD11-05E4-4106-AA9B-EB40B5F96C3D}"/>
          </ac:spMkLst>
        </pc:spChg>
        <pc:spChg chg="add del">
          <ac:chgData name="Christopher Weaver" userId="2d47d5c7-389a-4b91-8fc5-dfad12ad20c7" providerId="ADAL" clId="{70018DEB-B5EB-4514-8E8A-62F649186FBA}" dt="2020-01-23T20:48:03.073" v="42" actId="478"/>
          <ac:spMkLst>
            <pc:docMk/>
            <pc:sldMk cId="369063657" sldId="422"/>
            <ac:spMk id="5" creationId="{700BB6FA-712E-4B19-82D8-C93739EA85D5}"/>
          </ac:spMkLst>
        </pc:spChg>
        <pc:graphicFrameChg chg="add del mod">
          <ac:chgData name="Christopher Weaver" userId="2d47d5c7-389a-4b91-8fc5-dfad12ad20c7" providerId="ADAL" clId="{70018DEB-B5EB-4514-8E8A-62F649186FBA}" dt="2020-01-23T20:46:22.311" v="36" actId="1032"/>
          <ac:graphicFrameMkLst>
            <pc:docMk/>
            <pc:sldMk cId="369063657" sldId="422"/>
            <ac:graphicFrameMk id="4" creationId="{AC1BF482-8AB0-46EE-A26A-C8FB3F51B8CD}"/>
          </ac:graphicFrameMkLst>
        </pc:graphicFrameChg>
        <pc:graphicFrameChg chg="add mod">
          <ac:chgData name="Christopher Weaver" userId="2d47d5c7-389a-4b91-8fc5-dfad12ad20c7" providerId="ADAL" clId="{70018DEB-B5EB-4514-8E8A-62F649186FBA}" dt="2020-01-23T20:51:23.773" v="59" actId="14100"/>
          <ac:graphicFrameMkLst>
            <pc:docMk/>
            <pc:sldMk cId="369063657" sldId="422"/>
            <ac:graphicFrameMk id="6" creationId="{BA512329-F769-49E0-9500-453BFFF13D54}"/>
          </ac:graphicFrameMkLst>
        </pc:graphicFrameChg>
        <pc:graphicFrameChg chg="add del mod">
          <ac:chgData name="Christopher Weaver" userId="2d47d5c7-389a-4b91-8fc5-dfad12ad20c7" providerId="ADAL" clId="{70018DEB-B5EB-4514-8E8A-62F649186FBA}" dt="2020-01-23T20:50:09.030" v="50" actId="478"/>
          <ac:graphicFrameMkLst>
            <pc:docMk/>
            <pc:sldMk cId="369063657" sldId="422"/>
            <ac:graphicFrameMk id="7" creationId="{3F1D37B1-3C37-4CA3-9AE5-788A0A264B1E}"/>
          </ac:graphicFrameMkLst>
        </pc:graphicFrameChg>
        <pc:picChg chg="del mod">
          <ac:chgData name="Christopher Weaver" userId="2d47d5c7-389a-4b91-8fc5-dfad12ad20c7" providerId="ADAL" clId="{70018DEB-B5EB-4514-8E8A-62F649186FBA}" dt="2020-01-23T20:47:19.953" v="40"/>
          <ac:picMkLst>
            <pc:docMk/>
            <pc:sldMk cId="369063657" sldId="422"/>
            <ac:picMk id="8" creationId="{988613EC-B64E-46B1-8B80-C3C57F7346F0}"/>
          </ac:picMkLst>
        </pc:picChg>
        <pc:picChg chg="del mod">
          <ac:chgData name="Christopher Weaver" userId="2d47d5c7-389a-4b91-8fc5-dfad12ad20c7" providerId="ADAL" clId="{70018DEB-B5EB-4514-8E8A-62F649186FBA}" dt="2020-01-23T20:47:36.767" v="41"/>
          <ac:picMkLst>
            <pc:docMk/>
            <pc:sldMk cId="369063657" sldId="422"/>
            <ac:picMk id="9" creationId="{00E2B6D8-37A1-4983-86D0-17A46A4B11ED}"/>
          </ac:picMkLst>
        </pc:picChg>
        <pc:picChg chg="add mod">
          <ac:chgData name="Christopher Weaver" userId="2d47d5c7-389a-4b91-8fc5-dfad12ad20c7" providerId="ADAL" clId="{70018DEB-B5EB-4514-8E8A-62F649186FBA}" dt="2020-01-23T20:51:45.412" v="61" actId="1076"/>
          <ac:picMkLst>
            <pc:docMk/>
            <pc:sldMk cId="369063657" sldId="422"/>
            <ac:picMk id="11" creationId="{988613EC-B64E-46B1-8B80-C3C57F7346F0}"/>
          </ac:picMkLst>
        </pc:picChg>
        <pc:picChg chg="add mod">
          <ac:chgData name="Christopher Weaver" userId="2d47d5c7-389a-4b91-8fc5-dfad12ad20c7" providerId="ADAL" clId="{70018DEB-B5EB-4514-8E8A-62F649186FBA}" dt="2020-01-23T20:52:05.455" v="65" actId="1076"/>
          <ac:picMkLst>
            <pc:docMk/>
            <pc:sldMk cId="369063657" sldId="422"/>
            <ac:picMk id="12" creationId="{00E2B6D8-37A1-4983-86D0-17A46A4B11ED}"/>
          </ac:picMkLst>
        </pc:picChg>
      </pc:sldChg>
      <pc:sldChg chg="addSp modSp add modNotesTx">
        <pc:chgData name="Christopher Weaver" userId="2d47d5c7-389a-4b91-8fc5-dfad12ad20c7" providerId="ADAL" clId="{70018DEB-B5EB-4514-8E8A-62F649186FBA}" dt="2020-01-24T16:20:36.864" v="964" actId="20577"/>
        <pc:sldMkLst>
          <pc:docMk/>
          <pc:sldMk cId="1875027611" sldId="1985"/>
        </pc:sldMkLst>
        <pc:spChg chg="mod">
          <ac:chgData name="Christopher Weaver" userId="2d47d5c7-389a-4b91-8fc5-dfad12ad20c7" providerId="ADAL" clId="{70018DEB-B5EB-4514-8E8A-62F649186FBA}" dt="2020-01-24T15:57:04.197" v="665" actId="20577"/>
          <ac:spMkLst>
            <pc:docMk/>
            <pc:sldMk cId="1875027611" sldId="1985"/>
            <ac:spMk id="2" creationId="{BE86EB64-FD4C-459D-B464-A3D329DB8677}"/>
          </ac:spMkLst>
        </pc:spChg>
        <pc:spChg chg="mod">
          <ac:chgData name="Christopher Weaver" userId="2d47d5c7-389a-4b91-8fc5-dfad12ad20c7" providerId="ADAL" clId="{70018DEB-B5EB-4514-8E8A-62F649186FBA}" dt="2020-01-23T21:24:25.883" v="321" actId="14100"/>
          <ac:spMkLst>
            <pc:docMk/>
            <pc:sldMk cId="1875027611" sldId="1985"/>
            <ac:spMk id="3" creationId="{C497D5A6-330C-4DB4-8B38-BFF51F04CBA8}"/>
          </ac:spMkLst>
        </pc:spChg>
        <pc:spChg chg="add mod">
          <ac:chgData name="Christopher Weaver" userId="2d47d5c7-389a-4b91-8fc5-dfad12ad20c7" providerId="ADAL" clId="{70018DEB-B5EB-4514-8E8A-62F649186FBA}" dt="2020-01-24T16:18:06.287" v="963" actId="20577"/>
          <ac:spMkLst>
            <pc:docMk/>
            <pc:sldMk cId="1875027611" sldId="1985"/>
            <ac:spMk id="5" creationId="{920DB69D-009B-419C-9C46-0C582BAEAD46}"/>
          </ac:spMkLst>
        </pc:spChg>
        <pc:picChg chg="add mod">
          <ac:chgData name="Christopher Weaver" userId="2d47d5c7-389a-4b91-8fc5-dfad12ad20c7" providerId="ADAL" clId="{70018DEB-B5EB-4514-8E8A-62F649186FBA}" dt="2020-01-24T16:03:55.414" v="685" actId="1076"/>
          <ac:picMkLst>
            <pc:docMk/>
            <pc:sldMk cId="1875027611" sldId="1985"/>
            <ac:picMk id="4" creationId="{5E05FA83-2065-446A-BD86-446CEBA54DED}"/>
          </ac:picMkLst>
        </pc:picChg>
      </pc:sldChg>
    </pc:docChg>
  </pc:docChgLst>
  <pc:docChgLst>
    <pc:chgData name="Alison Yeh" userId="S::alye@microsoft.com::86d98d7c-5861-42c0-9426-3e74a9b3ea79" providerId="AD" clId="Web-{D621B16D-0EB6-BD8F-5066-B0883D5666EA}"/>
    <pc:docChg chg="modSld">
      <pc:chgData name="Alison Yeh" userId="S::alye@microsoft.com::86d98d7c-5861-42c0-9426-3e74a9b3ea79" providerId="AD" clId="Web-{D621B16D-0EB6-BD8F-5066-B0883D5666EA}" dt="2020-11-03T02:10:52.389" v="6" actId="20577"/>
      <pc:docMkLst>
        <pc:docMk/>
      </pc:docMkLst>
      <pc:sldChg chg="modSp">
        <pc:chgData name="Alison Yeh" userId="S::alye@microsoft.com::86d98d7c-5861-42c0-9426-3e74a9b3ea79" providerId="AD" clId="Web-{D621B16D-0EB6-BD8F-5066-B0883D5666EA}" dt="2020-11-03T02:10:52.389" v="6" actId="20577"/>
        <pc:sldMkLst>
          <pc:docMk/>
          <pc:sldMk cId="616292797" sldId="406"/>
        </pc:sldMkLst>
        <pc:spChg chg="mod">
          <ac:chgData name="Alison Yeh" userId="S::alye@microsoft.com::86d98d7c-5861-42c0-9426-3e74a9b3ea79" providerId="AD" clId="Web-{D621B16D-0EB6-BD8F-5066-B0883D5666EA}" dt="2020-11-03T02:10:52.389" v="6" actId="20577"/>
          <ac:spMkLst>
            <pc:docMk/>
            <pc:sldMk cId="616292797" sldId="406"/>
            <ac:spMk id="2" creationId="{00000000-0000-0000-0000-000000000000}"/>
          </ac:spMkLst>
        </pc:spChg>
      </pc:sldChg>
    </pc:docChg>
  </pc:docChgLst>
  <pc:docChgLst>
    <pc:chgData name="Alison Yeh" userId="86d98d7c-5861-42c0-9426-3e74a9b3ea79" providerId="ADAL" clId="{D573B5F2-07D7-44E3-AD0A-29D7C487963C}"/>
    <pc:docChg chg="modSld">
      <pc:chgData name="Alison Yeh" userId="86d98d7c-5861-42c0-9426-3e74a9b3ea79" providerId="ADAL" clId="{D573B5F2-07D7-44E3-AD0A-29D7C487963C}" dt="2020-11-05T07:36:08.999" v="37" actId="20577"/>
      <pc:docMkLst>
        <pc:docMk/>
      </pc:docMkLst>
      <pc:sldChg chg="modSp mod">
        <pc:chgData name="Alison Yeh" userId="86d98d7c-5861-42c0-9426-3e74a9b3ea79" providerId="ADAL" clId="{D573B5F2-07D7-44E3-AD0A-29D7C487963C}" dt="2020-11-05T07:35:03.172" v="12" actId="20577"/>
        <pc:sldMkLst>
          <pc:docMk/>
          <pc:sldMk cId="6914788" sldId="418"/>
        </pc:sldMkLst>
        <pc:spChg chg="mod">
          <ac:chgData name="Alison Yeh" userId="86d98d7c-5861-42c0-9426-3e74a9b3ea79" providerId="ADAL" clId="{D573B5F2-07D7-44E3-AD0A-29D7C487963C}" dt="2020-11-05T07:35:03.172" v="12" actId="20577"/>
          <ac:spMkLst>
            <pc:docMk/>
            <pc:sldMk cId="6914788" sldId="418"/>
            <ac:spMk id="2" creationId="{C8D1F36B-668C-425E-9C99-F45BD1518015}"/>
          </ac:spMkLst>
        </pc:spChg>
      </pc:sldChg>
      <pc:sldChg chg="modSp">
        <pc:chgData name="Alison Yeh" userId="86d98d7c-5861-42c0-9426-3e74a9b3ea79" providerId="ADAL" clId="{D573B5F2-07D7-44E3-AD0A-29D7C487963C}" dt="2020-11-05T07:36:08.999" v="37" actId="20577"/>
        <pc:sldMkLst>
          <pc:docMk/>
          <pc:sldMk cId="3486571688" sldId="426"/>
        </pc:sldMkLst>
        <pc:spChg chg="mod">
          <ac:chgData name="Alison Yeh" userId="86d98d7c-5861-42c0-9426-3e74a9b3ea79" providerId="ADAL" clId="{D573B5F2-07D7-44E3-AD0A-29D7C487963C}" dt="2020-11-05T07:36:08.999" v="37" actId="20577"/>
          <ac:spMkLst>
            <pc:docMk/>
            <pc:sldMk cId="3486571688" sldId="426"/>
            <ac:spMk id="2" creationId="{9010681A-0D45-41F6-BE85-00C7915E7027}"/>
          </ac:spMkLst>
        </pc:spChg>
      </pc:sldChg>
      <pc:sldChg chg="modSp mod">
        <pc:chgData name="Alison Yeh" userId="86d98d7c-5861-42c0-9426-3e74a9b3ea79" providerId="ADAL" clId="{D573B5F2-07D7-44E3-AD0A-29D7C487963C}" dt="2020-11-05T07:34:03.054" v="2" actId="20577"/>
        <pc:sldMkLst>
          <pc:docMk/>
          <pc:sldMk cId="3081173804" sldId="1986"/>
        </pc:sldMkLst>
        <pc:spChg chg="mod">
          <ac:chgData name="Alison Yeh" userId="86d98d7c-5861-42c0-9426-3e74a9b3ea79" providerId="ADAL" clId="{D573B5F2-07D7-44E3-AD0A-29D7C487963C}" dt="2020-11-05T07:34:03.054" v="2" actId="20577"/>
          <ac:spMkLst>
            <pc:docMk/>
            <pc:sldMk cId="3081173804" sldId="1986"/>
            <ac:spMk id="7" creationId="{5EB3B185-9895-46BC-9BA5-2EC41D5B7C43}"/>
          </ac:spMkLst>
        </pc:spChg>
      </pc:sldChg>
      <pc:sldChg chg="modSp mod">
        <pc:chgData name="Alison Yeh" userId="86d98d7c-5861-42c0-9426-3e74a9b3ea79" providerId="ADAL" clId="{D573B5F2-07D7-44E3-AD0A-29D7C487963C}" dt="2020-11-05T07:35:16.556" v="18" actId="20577"/>
        <pc:sldMkLst>
          <pc:docMk/>
          <pc:sldMk cId="2397058738" sldId="1987"/>
        </pc:sldMkLst>
        <pc:spChg chg="mod">
          <ac:chgData name="Alison Yeh" userId="86d98d7c-5861-42c0-9426-3e74a9b3ea79" providerId="ADAL" clId="{D573B5F2-07D7-44E3-AD0A-29D7C487963C}" dt="2020-11-05T07:35:16.556" v="18" actId="20577"/>
          <ac:spMkLst>
            <pc:docMk/>
            <pc:sldMk cId="2397058738" sldId="1987"/>
            <ac:spMk id="7" creationId="{084F0EE3-70B5-4533-A0A3-C9B4AA06EF1C}"/>
          </ac:spMkLst>
        </pc:spChg>
      </pc:sldChg>
      <pc:sldChg chg="modSp mod modNotesTx">
        <pc:chgData name="Alison Yeh" userId="86d98d7c-5861-42c0-9426-3e74a9b3ea79" providerId="ADAL" clId="{D573B5F2-07D7-44E3-AD0A-29D7C487963C}" dt="2020-11-05T07:35:27.446" v="26" actId="20577"/>
        <pc:sldMkLst>
          <pc:docMk/>
          <pc:sldMk cId="3711151781" sldId="1988"/>
        </pc:sldMkLst>
        <pc:spChg chg="mod">
          <ac:chgData name="Alison Yeh" userId="86d98d7c-5861-42c0-9426-3e74a9b3ea79" providerId="ADAL" clId="{D573B5F2-07D7-44E3-AD0A-29D7C487963C}" dt="2020-11-05T07:35:19.827" v="19" actId="20577"/>
          <ac:spMkLst>
            <pc:docMk/>
            <pc:sldMk cId="3711151781" sldId="1988"/>
            <ac:spMk id="3" creationId="{A01C5015-850D-4AB4-BBC4-5CD47E1DB9FE}"/>
          </ac:spMkLst>
        </pc:spChg>
        <pc:spChg chg="mod">
          <ac:chgData name="Alison Yeh" userId="86d98d7c-5861-42c0-9426-3e74a9b3ea79" providerId="ADAL" clId="{D573B5F2-07D7-44E3-AD0A-29D7C487963C}" dt="2020-11-05T07:35:22.584" v="25" actId="20577"/>
          <ac:spMkLst>
            <pc:docMk/>
            <pc:sldMk cId="3711151781" sldId="1988"/>
            <ac:spMk id="10" creationId="{430572B6-216D-4850-AA6C-E9CAAD4D2DD0}"/>
          </ac:spMkLst>
        </pc:spChg>
      </pc:sldChg>
      <pc:sldChg chg="modNotesTx">
        <pc:chgData name="Alison Yeh" userId="86d98d7c-5861-42c0-9426-3e74a9b3ea79" providerId="ADAL" clId="{D573B5F2-07D7-44E3-AD0A-29D7C487963C}" dt="2020-11-05T07:35:33.050" v="27" actId="20577"/>
        <pc:sldMkLst>
          <pc:docMk/>
          <pc:sldMk cId="4093496454" sldId="1989"/>
        </pc:sldMkLst>
      </pc:sldChg>
      <pc:sldChg chg="modSp mod">
        <pc:chgData name="Alison Yeh" userId="86d98d7c-5861-42c0-9426-3e74a9b3ea79" providerId="ADAL" clId="{D573B5F2-07D7-44E3-AD0A-29D7C487963C}" dt="2020-11-05T07:35:56.977" v="30" actId="20577"/>
        <pc:sldMkLst>
          <pc:docMk/>
          <pc:sldMk cId="1796922269" sldId="1996"/>
        </pc:sldMkLst>
        <pc:spChg chg="mod">
          <ac:chgData name="Alison Yeh" userId="86d98d7c-5861-42c0-9426-3e74a9b3ea79" providerId="ADAL" clId="{D573B5F2-07D7-44E3-AD0A-29D7C487963C}" dt="2020-11-05T07:35:56.977" v="30" actId="20577"/>
          <ac:spMkLst>
            <pc:docMk/>
            <pc:sldMk cId="1796922269" sldId="1996"/>
            <ac:spMk id="4" creationId="{00000000-0000-0000-0000-000000000000}"/>
          </ac:spMkLst>
        </pc:spChg>
      </pc:sldChg>
    </pc:docChg>
  </pc:docChgLst>
  <pc:docChgLst>
    <pc:chgData name="Gilbert Nickelson" userId="S::gilbertn@microsoft.com::736df813-e39d-4bfb-9090-01d3a22ed6ab" providerId="AD" clId="Web-{DC4F32C0-BDB9-44EF-9904-B6C607481AB1}"/>
    <pc:docChg chg="mod">
      <pc:chgData name="Gilbert Nickelson" userId="S::gilbertn@microsoft.com::736df813-e39d-4bfb-9090-01d3a22ed6ab" providerId="AD" clId="Web-{DC4F32C0-BDB9-44EF-9904-B6C607481AB1}" dt="2022-08-13T20:22:03.329" v="2"/>
      <pc:docMkLst>
        <pc:docMk/>
      </pc:docMkLst>
      <pc:sldChg chg="addCm">
        <pc:chgData name="Gilbert Nickelson" userId="S::gilbertn@microsoft.com::736df813-e39d-4bfb-9090-01d3a22ed6ab" providerId="AD" clId="Web-{DC4F32C0-BDB9-44EF-9904-B6C607481AB1}" dt="2022-08-13T20:22:03.329" v="2"/>
        <pc:sldMkLst>
          <pc:docMk/>
          <pc:sldMk cId="1875027611" sldId="1985"/>
        </pc:sldMkLst>
      </pc:sldChg>
      <pc:sldChg chg="addCm">
        <pc:chgData name="Gilbert Nickelson" userId="S::gilbertn@microsoft.com::736df813-e39d-4bfb-9090-01d3a22ed6ab" providerId="AD" clId="Web-{DC4F32C0-BDB9-44EF-9904-B6C607481AB1}" dt="2022-08-13T20:04:10.300" v="1"/>
        <pc:sldMkLst>
          <pc:docMk/>
          <pc:sldMk cId="3711151781" sldId="1988"/>
        </pc:sldMkLst>
      </pc:sldChg>
    </pc:docChg>
  </pc:docChgLst>
  <pc:docChgLst>
    <pc:chgData name="Ethan Irons" userId="6f6e2f01-ea19-4a4a-bc47-1e970a349fc0" providerId="ADAL" clId="{49E0FF2D-2008-4C46-A86F-BE3D064B213C}"/>
    <pc:docChg chg="modSld">
      <pc:chgData name="Ethan Irons" userId="6f6e2f01-ea19-4a4a-bc47-1e970a349fc0" providerId="ADAL" clId="{49E0FF2D-2008-4C46-A86F-BE3D064B213C}" dt="2022-09-15T14:40:51.296" v="0" actId="729"/>
      <pc:docMkLst>
        <pc:docMk/>
      </pc:docMkLst>
      <pc:sldChg chg="mod modShow">
        <pc:chgData name="Ethan Irons" userId="6f6e2f01-ea19-4a4a-bc47-1e970a349fc0" providerId="ADAL" clId="{49E0FF2D-2008-4C46-A86F-BE3D064B213C}" dt="2022-09-15T14:40:51.296" v="0" actId="729"/>
        <pc:sldMkLst>
          <pc:docMk/>
          <pc:sldMk cId="1796922269" sldId="1996"/>
        </pc:sldMkLst>
      </pc:sldChg>
    </pc:docChg>
  </pc:docChgLst>
  <pc:docChgLst>
    <pc:chgData name="Guest User" providerId="Windows Live" clId="Web-{595F06C4-DAA8-4977-B724-73E3DC52253D}"/>
    <pc:docChg chg="addSld delSld sldOrd addMainMaster modSection">
      <pc:chgData name="Guest User" userId="" providerId="Windows Live" clId="Web-{595F06C4-DAA8-4977-B724-73E3DC52253D}" dt="2020-08-23T21:52:34.403" v="2"/>
      <pc:docMkLst>
        <pc:docMk/>
      </pc:docMkLst>
      <pc:sldChg chg="del">
        <pc:chgData name="Guest User" userId="" providerId="Windows Live" clId="Web-{595F06C4-DAA8-4977-B724-73E3DC52253D}" dt="2020-08-23T21:51:53.824" v="0"/>
        <pc:sldMkLst>
          <pc:docMk/>
          <pc:sldMk cId="1900552605" sldId="424"/>
        </pc:sldMkLst>
      </pc:sldChg>
      <pc:sldChg chg="add ord">
        <pc:chgData name="Guest User" userId="" providerId="Windows Live" clId="Web-{595F06C4-DAA8-4977-B724-73E3DC52253D}" dt="2020-08-23T21:52:34.403" v="2"/>
        <pc:sldMkLst>
          <pc:docMk/>
          <pc:sldMk cId="3690323845" sldId="1997"/>
        </pc:sldMkLst>
      </pc:sldChg>
      <pc:sldMasterChg chg="add addSldLayout">
        <pc:chgData name="Guest User" userId="" providerId="Windows Live" clId="Web-{595F06C4-DAA8-4977-B724-73E3DC52253D}" dt="2020-08-23T21:52:18.934" v="1"/>
        <pc:sldMasterMkLst>
          <pc:docMk/>
          <pc:sldMasterMk cId="3138866671" sldId="2147483990"/>
        </pc:sldMasterMkLst>
        <pc:sldLayoutChg chg="add">
          <pc:chgData name="Guest User" userId="" providerId="Windows Live" clId="Web-{595F06C4-DAA8-4977-B724-73E3DC52253D}" dt="2020-08-23T21:52:18.934" v="1"/>
          <pc:sldLayoutMkLst>
            <pc:docMk/>
            <pc:sldMasterMk cId="3138866671" sldId="2147483990"/>
            <pc:sldLayoutMk cId="1225445844" sldId="2147483991"/>
          </pc:sldLayoutMkLst>
        </pc:sldLayoutChg>
        <pc:sldLayoutChg chg="add">
          <pc:chgData name="Guest User" userId="" providerId="Windows Live" clId="Web-{595F06C4-DAA8-4977-B724-73E3DC52253D}" dt="2020-08-23T21:52:18.934" v="1"/>
          <pc:sldLayoutMkLst>
            <pc:docMk/>
            <pc:sldMasterMk cId="3138866671" sldId="2147483990"/>
            <pc:sldLayoutMk cId="2128073608" sldId="2147483992"/>
          </pc:sldLayoutMkLst>
        </pc:sldLayoutChg>
        <pc:sldLayoutChg chg="add">
          <pc:chgData name="Guest User" userId="" providerId="Windows Live" clId="Web-{595F06C4-DAA8-4977-B724-73E3DC52253D}" dt="2020-08-23T21:52:18.934" v="1"/>
          <pc:sldLayoutMkLst>
            <pc:docMk/>
            <pc:sldMasterMk cId="3138866671" sldId="2147483990"/>
            <pc:sldLayoutMk cId="2611871824" sldId="2147483993"/>
          </pc:sldLayoutMkLst>
        </pc:sldLayoutChg>
        <pc:sldLayoutChg chg="add">
          <pc:chgData name="Guest User" userId="" providerId="Windows Live" clId="Web-{595F06C4-DAA8-4977-B724-73E3DC52253D}" dt="2020-08-23T21:52:18.934" v="1"/>
          <pc:sldLayoutMkLst>
            <pc:docMk/>
            <pc:sldMasterMk cId="3138866671" sldId="2147483990"/>
            <pc:sldLayoutMk cId="2381726192" sldId="2147483994"/>
          </pc:sldLayoutMkLst>
        </pc:sldLayoutChg>
        <pc:sldLayoutChg chg="add">
          <pc:chgData name="Guest User" userId="" providerId="Windows Live" clId="Web-{595F06C4-DAA8-4977-B724-73E3DC52253D}" dt="2020-08-23T21:52:18.934" v="1"/>
          <pc:sldLayoutMkLst>
            <pc:docMk/>
            <pc:sldMasterMk cId="3138866671" sldId="2147483990"/>
            <pc:sldLayoutMk cId="3633400075" sldId="2147483995"/>
          </pc:sldLayoutMkLst>
        </pc:sldLayoutChg>
        <pc:sldLayoutChg chg="add">
          <pc:chgData name="Guest User" userId="" providerId="Windows Live" clId="Web-{595F06C4-DAA8-4977-B724-73E3DC52253D}" dt="2020-08-23T21:52:18.934" v="1"/>
          <pc:sldLayoutMkLst>
            <pc:docMk/>
            <pc:sldMasterMk cId="3138866671" sldId="2147483990"/>
            <pc:sldLayoutMk cId="1025559163" sldId="2147483996"/>
          </pc:sldLayoutMkLst>
        </pc:sldLayoutChg>
        <pc:sldLayoutChg chg="add">
          <pc:chgData name="Guest User" userId="" providerId="Windows Live" clId="Web-{595F06C4-DAA8-4977-B724-73E3DC52253D}" dt="2020-08-23T21:52:18.934" v="1"/>
          <pc:sldLayoutMkLst>
            <pc:docMk/>
            <pc:sldMasterMk cId="3138866671" sldId="2147483990"/>
            <pc:sldLayoutMk cId="978647275" sldId="2147483997"/>
          </pc:sldLayoutMkLst>
        </pc:sldLayoutChg>
        <pc:sldLayoutChg chg="add">
          <pc:chgData name="Guest User" userId="" providerId="Windows Live" clId="Web-{595F06C4-DAA8-4977-B724-73E3DC52253D}" dt="2020-08-23T21:52:18.934" v="1"/>
          <pc:sldLayoutMkLst>
            <pc:docMk/>
            <pc:sldMasterMk cId="3138866671" sldId="2147483990"/>
            <pc:sldLayoutMk cId="3116855824" sldId="2147483998"/>
          </pc:sldLayoutMkLst>
        </pc:sldLayoutChg>
        <pc:sldLayoutChg chg="add">
          <pc:chgData name="Guest User" userId="" providerId="Windows Live" clId="Web-{595F06C4-DAA8-4977-B724-73E3DC52253D}" dt="2020-08-23T21:52:18.934" v="1"/>
          <pc:sldLayoutMkLst>
            <pc:docMk/>
            <pc:sldMasterMk cId="3138866671" sldId="2147483990"/>
            <pc:sldLayoutMk cId="3566546305" sldId="2147483999"/>
          </pc:sldLayoutMkLst>
        </pc:sldLayoutChg>
        <pc:sldLayoutChg chg="add">
          <pc:chgData name="Guest User" userId="" providerId="Windows Live" clId="Web-{595F06C4-DAA8-4977-B724-73E3DC52253D}" dt="2020-08-23T21:52:18.934" v="1"/>
          <pc:sldLayoutMkLst>
            <pc:docMk/>
            <pc:sldMasterMk cId="3138866671" sldId="2147483990"/>
            <pc:sldLayoutMk cId="1401725589" sldId="2147484000"/>
          </pc:sldLayoutMkLst>
        </pc:sldLayoutChg>
        <pc:sldLayoutChg chg="add">
          <pc:chgData name="Guest User" userId="" providerId="Windows Live" clId="Web-{595F06C4-DAA8-4977-B724-73E3DC52253D}" dt="2020-08-23T21:52:18.934" v="1"/>
          <pc:sldLayoutMkLst>
            <pc:docMk/>
            <pc:sldMasterMk cId="3138866671" sldId="2147483990"/>
            <pc:sldLayoutMk cId="1716957870" sldId="2147484001"/>
          </pc:sldLayoutMkLst>
        </pc:sldLayoutChg>
        <pc:sldLayoutChg chg="add">
          <pc:chgData name="Guest User" userId="" providerId="Windows Live" clId="Web-{595F06C4-DAA8-4977-B724-73E3DC52253D}" dt="2020-08-23T21:52:18.934" v="1"/>
          <pc:sldLayoutMkLst>
            <pc:docMk/>
            <pc:sldMasterMk cId="3138866671" sldId="2147483990"/>
            <pc:sldLayoutMk cId="482717613" sldId="2147484002"/>
          </pc:sldLayoutMkLst>
        </pc:sldLayoutChg>
        <pc:sldLayoutChg chg="add">
          <pc:chgData name="Guest User" userId="" providerId="Windows Live" clId="Web-{595F06C4-DAA8-4977-B724-73E3DC52253D}" dt="2020-08-23T21:52:18.934" v="1"/>
          <pc:sldLayoutMkLst>
            <pc:docMk/>
            <pc:sldMasterMk cId="3138866671" sldId="2147483990"/>
            <pc:sldLayoutMk cId="1508755777" sldId="2147484003"/>
          </pc:sldLayoutMkLst>
        </pc:sldLayoutChg>
        <pc:sldLayoutChg chg="add">
          <pc:chgData name="Guest User" userId="" providerId="Windows Live" clId="Web-{595F06C4-DAA8-4977-B724-73E3DC52253D}" dt="2020-08-23T21:52:18.934" v="1"/>
          <pc:sldLayoutMkLst>
            <pc:docMk/>
            <pc:sldMasterMk cId="3138866671" sldId="2147483990"/>
            <pc:sldLayoutMk cId="756118918" sldId="2147484004"/>
          </pc:sldLayoutMkLst>
        </pc:sldLayoutChg>
        <pc:sldLayoutChg chg="add">
          <pc:chgData name="Guest User" userId="" providerId="Windows Live" clId="Web-{595F06C4-DAA8-4977-B724-73E3DC52253D}" dt="2020-08-23T21:52:18.934" v="1"/>
          <pc:sldLayoutMkLst>
            <pc:docMk/>
            <pc:sldMasterMk cId="3138866671" sldId="2147483990"/>
            <pc:sldLayoutMk cId="434779669" sldId="2147484005"/>
          </pc:sldLayoutMkLst>
        </pc:sldLayoutChg>
        <pc:sldLayoutChg chg="add">
          <pc:chgData name="Guest User" userId="" providerId="Windows Live" clId="Web-{595F06C4-DAA8-4977-B724-73E3DC52253D}" dt="2020-08-23T21:52:18.934" v="1"/>
          <pc:sldLayoutMkLst>
            <pc:docMk/>
            <pc:sldMasterMk cId="3138866671" sldId="2147483990"/>
            <pc:sldLayoutMk cId="3370073269" sldId="2147484006"/>
          </pc:sldLayoutMkLst>
        </pc:sldLayoutChg>
        <pc:sldLayoutChg chg="add">
          <pc:chgData name="Guest User" userId="" providerId="Windows Live" clId="Web-{595F06C4-DAA8-4977-B724-73E3DC52253D}" dt="2020-08-23T21:52:18.934" v="1"/>
          <pc:sldLayoutMkLst>
            <pc:docMk/>
            <pc:sldMasterMk cId="3138866671" sldId="2147483990"/>
            <pc:sldLayoutMk cId="1641343874" sldId="2147484007"/>
          </pc:sldLayoutMkLst>
        </pc:sldLayoutChg>
        <pc:sldLayoutChg chg="add">
          <pc:chgData name="Guest User" userId="" providerId="Windows Live" clId="Web-{595F06C4-DAA8-4977-B724-73E3DC52253D}" dt="2020-08-23T21:52:18.934" v="1"/>
          <pc:sldLayoutMkLst>
            <pc:docMk/>
            <pc:sldMasterMk cId="3138866671" sldId="2147483990"/>
            <pc:sldLayoutMk cId="2216216901" sldId="2147484008"/>
          </pc:sldLayoutMkLst>
        </pc:sldLayoutChg>
        <pc:sldLayoutChg chg="add">
          <pc:chgData name="Guest User" userId="" providerId="Windows Live" clId="Web-{595F06C4-DAA8-4977-B724-73E3DC52253D}" dt="2020-08-23T21:52:18.934" v="1"/>
          <pc:sldLayoutMkLst>
            <pc:docMk/>
            <pc:sldMasterMk cId="3138866671" sldId="2147483990"/>
            <pc:sldLayoutMk cId="3320697965" sldId="2147484009"/>
          </pc:sldLayoutMkLst>
        </pc:sldLayoutChg>
        <pc:sldLayoutChg chg="add">
          <pc:chgData name="Guest User" userId="" providerId="Windows Live" clId="Web-{595F06C4-DAA8-4977-B724-73E3DC52253D}" dt="2020-08-23T21:52:18.934" v="1"/>
          <pc:sldLayoutMkLst>
            <pc:docMk/>
            <pc:sldMasterMk cId="3138866671" sldId="2147483990"/>
            <pc:sldLayoutMk cId="2881002593" sldId="2147484010"/>
          </pc:sldLayoutMkLst>
        </pc:sldLayoutChg>
        <pc:sldLayoutChg chg="add">
          <pc:chgData name="Guest User" userId="" providerId="Windows Live" clId="Web-{595F06C4-DAA8-4977-B724-73E3DC52253D}" dt="2020-08-23T21:52:18.934" v="1"/>
          <pc:sldLayoutMkLst>
            <pc:docMk/>
            <pc:sldMasterMk cId="3138866671" sldId="2147483990"/>
            <pc:sldLayoutMk cId="3491582711" sldId="2147484011"/>
          </pc:sldLayoutMkLst>
        </pc:sldLayoutChg>
        <pc:sldLayoutChg chg="add">
          <pc:chgData name="Guest User" userId="" providerId="Windows Live" clId="Web-{595F06C4-DAA8-4977-B724-73E3DC52253D}" dt="2020-08-23T21:52:18.934" v="1"/>
          <pc:sldLayoutMkLst>
            <pc:docMk/>
            <pc:sldMasterMk cId="3138866671" sldId="2147483990"/>
            <pc:sldLayoutMk cId="526330969" sldId="2147484012"/>
          </pc:sldLayoutMkLst>
        </pc:sldLayoutChg>
        <pc:sldLayoutChg chg="add">
          <pc:chgData name="Guest User" userId="" providerId="Windows Live" clId="Web-{595F06C4-DAA8-4977-B724-73E3DC52253D}" dt="2020-08-23T21:52:18.934" v="1"/>
          <pc:sldLayoutMkLst>
            <pc:docMk/>
            <pc:sldMasterMk cId="3138866671" sldId="2147483990"/>
            <pc:sldLayoutMk cId="2353817919" sldId="2147484013"/>
          </pc:sldLayoutMkLst>
        </pc:sldLayoutChg>
        <pc:sldLayoutChg chg="add">
          <pc:chgData name="Guest User" userId="" providerId="Windows Live" clId="Web-{595F06C4-DAA8-4977-B724-73E3DC52253D}" dt="2020-08-23T21:52:18.934" v="1"/>
          <pc:sldLayoutMkLst>
            <pc:docMk/>
            <pc:sldMasterMk cId="3138866671" sldId="2147483990"/>
            <pc:sldLayoutMk cId="2570858718" sldId="2147484014"/>
          </pc:sldLayoutMkLst>
        </pc:sldLayoutChg>
        <pc:sldLayoutChg chg="add">
          <pc:chgData name="Guest User" userId="" providerId="Windows Live" clId="Web-{595F06C4-DAA8-4977-B724-73E3DC52253D}" dt="2020-08-23T21:52:18.934" v="1"/>
          <pc:sldLayoutMkLst>
            <pc:docMk/>
            <pc:sldMasterMk cId="3138866671" sldId="2147483990"/>
            <pc:sldLayoutMk cId="1130694076" sldId="2147484015"/>
          </pc:sldLayoutMkLst>
        </pc:sldLayoutChg>
        <pc:sldLayoutChg chg="add">
          <pc:chgData name="Guest User" userId="" providerId="Windows Live" clId="Web-{595F06C4-DAA8-4977-B724-73E3DC52253D}" dt="2020-08-23T21:52:18.934" v="1"/>
          <pc:sldLayoutMkLst>
            <pc:docMk/>
            <pc:sldMasterMk cId="3138866671" sldId="2147483990"/>
            <pc:sldLayoutMk cId="1924444472" sldId="2147484016"/>
          </pc:sldLayoutMkLst>
        </pc:sldLayoutChg>
        <pc:sldLayoutChg chg="add">
          <pc:chgData name="Guest User" userId="" providerId="Windows Live" clId="Web-{595F06C4-DAA8-4977-B724-73E3DC52253D}" dt="2020-08-23T21:52:18.934" v="1"/>
          <pc:sldLayoutMkLst>
            <pc:docMk/>
            <pc:sldMasterMk cId="3138866671" sldId="2147483990"/>
            <pc:sldLayoutMk cId="3237381773" sldId="2147484017"/>
          </pc:sldLayoutMkLst>
        </pc:sldLayoutChg>
        <pc:sldLayoutChg chg="add">
          <pc:chgData name="Guest User" userId="" providerId="Windows Live" clId="Web-{595F06C4-DAA8-4977-B724-73E3DC52253D}" dt="2020-08-23T21:52:18.934" v="1"/>
          <pc:sldLayoutMkLst>
            <pc:docMk/>
            <pc:sldMasterMk cId="3138866671" sldId="2147483990"/>
            <pc:sldLayoutMk cId="119041650" sldId="2147484018"/>
          </pc:sldLayoutMkLst>
        </pc:sldLayoutChg>
        <pc:sldLayoutChg chg="add">
          <pc:chgData name="Guest User" userId="" providerId="Windows Live" clId="Web-{595F06C4-DAA8-4977-B724-73E3DC52253D}" dt="2020-08-23T21:52:18.934" v="1"/>
          <pc:sldLayoutMkLst>
            <pc:docMk/>
            <pc:sldMasterMk cId="3138866671" sldId="2147483990"/>
            <pc:sldLayoutMk cId="1876849995" sldId="2147484019"/>
          </pc:sldLayoutMkLst>
        </pc:sldLayoutChg>
        <pc:sldLayoutChg chg="add">
          <pc:chgData name="Guest User" userId="" providerId="Windows Live" clId="Web-{595F06C4-DAA8-4977-B724-73E3DC52253D}" dt="2020-08-23T21:52:18.934" v="1"/>
          <pc:sldLayoutMkLst>
            <pc:docMk/>
            <pc:sldMasterMk cId="3138866671" sldId="2147483990"/>
            <pc:sldLayoutMk cId="2442093490" sldId="2147484020"/>
          </pc:sldLayoutMkLst>
        </pc:sldLayoutChg>
        <pc:sldLayoutChg chg="add">
          <pc:chgData name="Guest User" userId="" providerId="Windows Live" clId="Web-{595F06C4-DAA8-4977-B724-73E3DC52253D}" dt="2020-08-23T21:52:18.934" v="1"/>
          <pc:sldLayoutMkLst>
            <pc:docMk/>
            <pc:sldMasterMk cId="3138866671" sldId="2147483990"/>
            <pc:sldLayoutMk cId="523462488" sldId="2147484021"/>
          </pc:sldLayoutMkLst>
        </pc:sldLayoutChg>
        <pc:sldLayoutChg chg="add">
          <pc:chgData name="Guest User" userId="" providerId="Windows Live" clId="Web-{595F06C4-DAA8-4977-B724-73E3DC52253D}" dt="2020-08-23T21:52:18.934" v="1"/>
          <pc:sldLayoutMkLst>
            <pc:docMk/>
            <pc:sldMasterMk cId="3138866671" sldId="2147483990"/>
            <pc:sldLayoutMk cId="3912418055" sldId="2147484022"/>
          </pc:sldLayoutMkLst>
        </pc:sldLayoutChg>
        <pc:sldLayoutChg chg="add">
          <pc:chgData name="Guest User" userId="" providerId="Windows Live" clId="Web-{595F06C4-DAA8-4977-B724-73E3DC52253D}" dt="2020-08-23T21:52:18.934" v="1"/>
          <pc:sldLayoutMkLst>
            <pc:docMk/>
            <pc:sldMasterMk cId="3138866671" sldId="2147483990"/>
            <pc:sldLayoutMk cId="1300962889" sldId="2147484023"/>
          </pc:sldLayoutMkLst>
        </pc:sldLayoutChg>
        <pc:sldLayoutChg chg="add">
          <pc:chgData name="Guest User" userId="" providerId="Windows Live" clId="Web-{595F06C4-DAA8-4977-B724-73E3DC52253D}" dt="2020-08-23T21:52:18.934" v="1"/>
          <pc:sldLayoutMkLst>
            <pc:docMk/>
            <pc:sldMasterMk cId="3138866671" sldId="2147483990"/>
            <pc:sldLayoutMk cId="2484416189" sldId="2147484024"/>
          </pc:sldLayoutMkLst>
        </pc:sldLayoutChg>
        <pc:sldLayoutChg chg="add">
          <pc:chgData name="Guest User" userId="" providerId="Windows Live" clId="Web-{595F06C4-DAA8-4977-B724-73E3DC52253D}" dt="2020-08-23T21:52:18.934" v="1"/>
          <pc:sldLayoutMkLst>
            <pc:docMk/>
            <pc:sldMasterMk cId="3138866671" sldId="2147483990"/>
            <pc:sldLayoutMk cId="618353612" sldId="2147484025"/>
          </pc:sldLayoutMkLst>
        </pc:sldLayoutChg>
        <pc:sldLayoutChg chg="add">
          <pc:chgData name="Guest User" userId="" providerId="Windows Live" clId="Web-{595F06C4-DAA8-4977-B724-73E3DC52253D}" dt="2020-08-23T21:52:18.934" v="1"/>
          <pc:sldLayoutMkLst>
            <pc:docMk/>
            <pc:sldMasterMk cId="3138866671" sldId="2147483990"/>
            <pc:sldLayoutMk cId="1184326568" sldId="2147484026"/>
          </pc:sldLayoutMkLst>
        </pc:sldLayoutChg>
        <pc:sldLayoutChg chg="add">
          <pc:chgData name="Guest User" userId="" providerId="Windows Live" clId="Web-{595F06C4-DAA8-4977-B724-73E3DC52253D}" dt="2020-08-23T21:52:18.934" v="1"/>
          <pc:sldLayoutMkLst>
            <pc:docMk/>
            <pc:sldMasterMk cId="3138866671" sldId="2147483990"/>
            <pc:sldLayoutMk cId="3795046949" sldId="2147484027"/>
          </pc:sldLayoutMkLst>
        </pc:sldLayoutChg>
        <pc:sldLayoutChg chg="add">
          <pc:chgData name="Guest User" userId="" providerId="Windows Live" clId="Web-{595F06C4-DAA8-4977-B724-73E3DC52253D}" dt="2020-08-23T21:52:18.934" v="1"/>
          <pc:sldLayoutMkLst>
            <pc:docMk/>
            <pc:sldMasterMk cId="3138866671" sldId="2147483990"/>
            <pc:sldLayoutMk cId="1831624703" sldId="2147484028"/>
          </pc:sldLayoutMkLst>
        </pc:sldLayoutChg>
        <pc:sldLayoutChg chg="add">
          <pc:chgData name="Guest User" userId="" providerId="Windows Live" clId="Web-{595F06C4-DAA8-4977-B724-73E3DC52253D}" dt="2020-08-23T21:52:18.934" v="1"/>
          <pc:sldLayoutMkLst>
            <pc:docMk/>
            <pc:sldMasterMk cId="3138866671" sldId="2147483990"/>
            <pc:sldLayoutMk cId="3255432458" sldId="2147484029"/>
          </pc:sldLayoutMkLst>
        </pc:sldLayoutChg>
        <pc:sldLayoutChg chg="add">
          <pc:chgData name="Guest User" userId="" providerId="Windows Live" clId="Web-{595F06C4-DAA8-4977-B724-73E3DC52253D}" dt="2020-08-23T21:52:18.934" v="1"/>
          <pc:sldLayoutMkLst>
            <pc:docMk/>
            <pc:sldMasterMk cId="3138866671" sldId="2147483990"/>
            <pc:sldLayoutMk cId="774246453" sldId="2147484030"/>
          </pc:sldLayoutMkLst>
        </pc:sldLayoutChg>
        <pc:sldLayoutChg chg="add">
          <pc:chgData name="Guest User" userId="" providerId="Windows Live" clId="Web-{595F06C4-DAA8-4977-B724-73E3DC52253D}" dt="2020-08-23T21:52:18.934" v="1"/>
          <pc:sldLayoutMkLst>
            <pc:docMk/>
            <pc:sldMasterMk cId="3138866671" sldId="2147483990"/>
            <pc:sldLayoutMk cId="1847334346" sldId="2147484031"/>
          </pc:sldLayoutMkLst>
        </pc:sldLayoutChg>
        <pc:sldLayoutChg chg="add">
          <pc:chgData name="Guest User" userId="" providerId="Windows Live" clId="Web-{595F06C4-DAA8-4977-B724-73E3DC52253D}" dt="2020-08-23T21:52:18.934" v="1"/>
          <pc:sldLayoutMkLst>
            <pc:docMk/>
            <pc:sldMasterMk cId="3138866671" sldId="2147483990"/>
            <pc:sldLayoutMk cId="161492002" sldId="2147484032"/>
          </pc:sldLayoutMkLst>
        </pc:sldLayoutChg>
        <pc:sldLayoutChg chg="add">
          <pc:chgData name="Guest User" userId="" providerId="Windows Live" clId="Web-{595F06C4-DAA8-4977-B724-73E3DC52253D}" dt="2020-08-23T21:52:18.934" v="1"/>
          <pc:sldLayoutMkLst>
            <pc:docMk/>
            <pc:sldMasterMk cId="3138866671" sldId="2147483990"/>
            <pc:sldLayoutMk cId="349658073" sldId="2147484033"/>
          </pc:sldLayoutMkLst>
        </pc:sldLayoutChg>
        <pc:sldLayoutChg chg="add">
          <pc:chgData name="Guest User" userId="" providerId="Windows Live" clId="Web-{595F06C4-DAA8-4977-B724-73E3DC52253D}" dt="2020-08-23T21:52:18.934" v="1"/>
          <pc:sldLayoutMkLst>
            <pc:docMk/>
            <pc:sldMasterMk cId="3138866671" sldId="2147483990"/>
            <pc:sldLayoutMk cId="238762808" sldId="2147484034"/>
          </pc:sldLayoutMkLst>
        </pc:sldLayoutChg>
      </pc:sldMasterChg>
    </pc:docChg>
  </pc:docChgLst>
  <pc:docChgLst>
    <pc:chgData name="Christopher Weaver" userId="2d47d5c7-389a-4b91-8fc5-dfad12ad20c7" providerId="ADAL" clId="{938387DF-5606-4091-800C-FE948D882158}"/>
    <pc:docChg chg="addSld modSld modSection">
      <pc:chgData name="Christopher Weaver" userId="2d47d5c7-389a-4b91-8fc5-dfad12ad20c7" providerId="ADAL" clId="{938387DF-5606-4091-800C-FE948D882158}" dt="2021-09-15T16:41:56.107" v="26" actId="20577"/>
      <pc:docMkLst>
        <pc:docMk/>
      </pc:docMkLst>
      <pc:sldChg chg="modSp new mod">
        <pc:chgData name="Christopher Weaver" userId="2d47d5c7-389a-4b91-8fc5-dfad12ad20c7" providerId="ADAL" clId="{938387DF-5606-4091-800C-FE948D882158}" dt="2021-09-15T16:41:56.107" v="26" actId="20577"/>
        <pc:sldMkLst>
          <pc:docMk/>
          <pc:sldMk cId="39528547" sldId="1998"/>
        </pc:sldMkLst>
        <pc:spChg chg="mod">
          <ac:chgData name="Christopher Weaver" userId="2d47d5c7-389a-4b91-8fc5-dfad12ad20c7" providerId="ADAL" clId="{938387DF-5606-4091-800C-FE948D882158}" dt="2021-09-15T16:41:56.107" v="26" actId="20577"/>
          <ac:spMkLst>
            <pc:docMk/>
            <pc:sldMk cId="39528547" sldId="1998"/>
            <ac:spMk id="2" creationId="{C0A74B92-848E-480F-8384-79A57D71BCD8}"/>
          </ac:spMkLst>
        </pc:spChg>
      </pc:sldChg>
    </pc:docChg>
  </pc:docChgLst>
  <pc:docChgLst>
    <pc:chgData name="Matias Rama" userId="bdb996b8-8278-412a-926d-fa225ff77c33" providerId="ADAL" clId="{5B43D872-01C2-4BB4-BCD1-2052AA32DBA5}"/>
    <pc:docChg chg="custSel addSld delSld modSld sldOrd addSection modSection">
      <pc:chgData name="Matias Rama" userId="bdb996b8-8278-412a-926d-fa225ff77c33" providerId="ADAL" clId="{5B43D872-01C2-4BB4-BCD1-2052AA32DBA5}" dt="2020-05-05T23:11:18.279" v="161" actId="17846"/>
      <pc:docMkLst>
        <pc:docMk/>
      </pc:docMkLst>
      <pc:sldChg chg="mod modShow">
        <pc:chgData name="Matias Rama" userId="bdb996b8-8278-412a-926d-fa225ff77c33" providerId="ADAL" clId="{5B43D872-01C2-4BB4-BCD1-2052AA32DBA5}" dt="2020-05-05T22:56:45.197" v="87" actId="729"/>
        <pc:sldMkLst>
          <pc:docMk/>
          <pc:sldMk cId="3980266769" sldId="381"/>
        </pc:sldMkLst>
      </pc:sldChg>
      <pc:sldChg chg="modSp mod">
        <pc:chgData name="Matias Rama" userId="bdb996b8-8278-412a-926d-fa225ff77c33" providerId="ADAL" clId="{5B43D872-01C2-4BB4-BCD1-2052AA32DBA5}" dt="2020-05-05T22:45:42.095" v="1" actId="20577"/>
        <pc:sldMkLst>
          <pc:docMk/>
          <pc:sldMk cId="616292797" sldId="406"/>
        </pc:sldMkLst>
        <pc:spChg chg="mod">
          <ac:chgData name="Matias Rama" userId="bdb996b8-8278-412a-926d-fa225ff77c33" providerId="ADAL" clId="{5B43D872-01C2-4BB4-BCD1-2052AA32DBA5}" dt="2020-05-05T22:45:42.095" v="1" actId="20577"/>
          <ac:spMkLst>
            <pc:docMk/>
            <pc:sldMk cId="616292797" sldId="406"/>
            <ac:spMk id="2" creationId="{00000000-0000-0000-0000-000000000000}"/>
          </ac:spMkLst>
        </pc:spChg>
      </pc:sldChg>
      <pc:sldChg chg="modSp mod modShow modNotesTx">
        <pc:chgData name="Matias Rama" userId="bdb996b8-8278-412a-926d-fa225ff77c33" providerId="ADAL" clId="{5B43D872-01C2-4BB4-BCD1-2052AA32DBA5}" dt="2020-05-05T22:51:21.377" v="10" actId="729"/>
        <pc:sldMkLst>
          <pc:docMk/>
          <pc:sldMk cId="3734349781" sldId="414"/>
        </pc:sldMkLst>
        <pc:spChg chg="mod">
          <ac:chgData name="Matias Rama" userId="bdb996b8-8278-412a-926d-fa225ff77c33" providerId="ADAL" clId="{5B43D872-01C2-4BB4-BCD1-2052AA32DBA5}" dt="2020-05-05T22:48:44.576" v="2" actId="207"/>
          <ac:spMkLst>
            <pc:docMk/>
            <pc:sldMk cId="3734349781" sldId="414"/>
            <ac:spMk id="3" creationId="{204B7BCB-9541-4C31-BB2F-5DFD3F6E46A0}"/>
          </ac:spMkLst>
        </pc:spChg>
      </pc:sldChg>
      <pc:sldChg chg="modSp mod modNotesTx">
        <pc:chgData name="Matias Rama" userId="bdb996b8-8278-412a-926d-fa225ff77c33" providerId="ADAL" clId="{5B43D872-01C2-4BB4-BCD1-2052AA32DBA5}" dt="2020-05-05T22:54:40.197" v="83" actId="20577"/>
        <pc:sldMkLst>
          <pc:docMk/>
          <pc:sldMk cId="6914788" sldId="418"/>
        </pc:sldMkLst>
        <pc:spChg chg="mod">
          <ac:chgData name="Matias Rama" userId="bdb996b8-8278-412a-926d-fa225ff77c33" providerId="ADAL" clId="{5B43D872-01C2-4BB4-BCD1-2052AA32DBA5}" dt="2020-05-05T22:54:31.990" v="46" actId="20577"/>
          <ac:spMkLst>
            <pc:docMk/>
            <pc:sldMk cId="6914788" sldId="418"/>
            <ac:spMk id="2" creationId="{C8D1F36B-668C-425E-9C99-F45BD1518015}"/>
          </ac:spMkLst>
        </pc:spChg>
        <pc:spChg chg="mod">
          <ac:chgData name="Matias Rama" userId="bdb996b8-8278-412a-926d-fa225ff77c33" providerId="ADAL" clId="{5B43D872-01C2-4BB4-BCD1-2052AA32DBA5}" dt="2020-05-05T22:54:22.297" v="32" actId="207"/>
          <ac:spMkLst>
            <pc:docMk/>
            <pc:sldMk cId="6914788" sldId="418"/>
            <ac:spMk id="3" creationId="{00000000-0000-0000-0000-000000000000}"/>
          </ac:spMkLst>
        </pc:spChg>
      </pc:sldChg>
      <pc:sldChg chg="mod modShow">
        <pc:chgData name="Matias Rama" userId="bdb996b8-8278-412a-926d-fa225ff77c33" providerId="ADAL" clId="{5B43D872-01C2-4BB4-BCD1-2052AA32DBA5}" dt="2020-05-05T22:56:41.554" v="86" actId="729"/>
        <pc:sldMkLst>
          <pc:docMk/>
          <pc:sldMk cId="369063657" sldId="422"/>
        </pc:sldMkLst>
      </pc:sldChg>
      <pc:sldChg chg="mod modShow">
        <pc:chgData name="Matias Rama" userId="bdb996b8-8278-412a-926d-fa225ff77c33" providerId="ADAL" clId="{5B43D872-01C2-4BB4-BCD1-2052AA32DBA5}" dt="2020-05-05T22:56:53.039" v="88" actId="729"/>
        <pc:sldMkLst>
          <pc:docMk/>
          <pc:sldMk cId="278901877" sldId="1983"/>
        </pc:sldMkLst>
      </pc:sldChg>
      <pc:sldChg chg="modSp">
        <pc:chgData name="Matias Rama" userId="bdb996b8-8278-412a-926d-fa225ff77c33" providerId="ADAL" clId="{5B43D872-01C2-4BB4-BCD1-2052AA32DBA5}" dt="2020-05-05T23:08:23.154" v="103" actId="207"/>
        <pc:sldMkLst>
          <pc:docMk/>
          <pc:sldMk cId="2586618861" sldId="1984"/>
        </pc:sldMkLst>
        <pc:spChg chg="mod">
          <ac:chgData name="Matias Rama" userId="bdb996b8-8278-412a-926d-fa225ff77c33" providerId="ADAL" clId="{5B43D872-01C2-4BB4-BCD1-2052AA32DBA5}" dt="2020-05-05T23:08:23.154" v="103" actId="207"/>
          <ac:spMkLst>
            <pc:docMk/>
            <pc:sldMk cId="2586618861" sldId="1984"/>
            <ac:spMk id="2" creationId="{00000000-0000-0000-0000-000000000000}"/>
          </ac:spMkLst>
        </pc:spChg>
      </pc:sldChg>
      <pc:sldChg chg="addSp delSp modSp mod ord">
        <pc:chgData name="Matias Rama" userId="bdb996b8-8278-412a-926d-fa225ff77c33" providerId="ADAL" clId="{5B43D872-01C2-4BB4-BCD1-2052AA32DBA5}" dt="2020-05-05T22:59:14.222" v="98" actId="14100"/>
        <pc:sldMkLst>
          <pc:docMk/>
          <pc:sldMk cId="1875027611" sldId="1985"/>
        </pc:sldMkLst>
        <pc:spChg chg="mod">
          <ac:chgData name="Matias Rama" userId="bdb996b8-8278-412a-926d-fa225ff77c33" providerId="ADAL" clId="{5B43D872-01C2-4BB4-BCD1-2052AA32DBA5}" dt="2020-05-05T22:56:34.734" v="85" actId="207"/>
          <ac:spMkLst>
            <pc:docMk/>
            <pc:sldMk cId="1875027611" sldId="1985"/>
            <ac:spMk id="2" creationId="{BE86EB64-FD4C-459D-B464-A3D329DB8677}"/>
          </ac:spMkLst>
        </pc:spChg>
        <pc:picChg chg="del">
          <ac:chgData name="Matias Rama" userId="bdb996b8-8278-412a-926d-fa225ff77c33" providerId="ADAL" clId="{5B43D872-01C2-4BB4-BCD1-2052AA32DBA5}" dt="2020-05-05T22:59:09.265" v="95" actId="478"/>
          <ac:picMkLst>
            <pc:docMk/>
            <pc:sldMk cId="1875027611" sldId="1985"/>
            <ac:picMk id="4" creationId="{5E05FA83-2065-446A-BD86-446CEBA54DED}"/>
          </ac:picMkLst>
        </pc:picChg>
        <pc:picChg chg="add mod">
          <ac:chgData name="Matias Rama" userId="bdb996b8-8278-412a-926d-fa225ff77c33" providerId="ADAL" clId="{5B43D872-01C2-4BB4-BCD1-2052AA32DBA5}" dt="2020-05-05T22:59:14.222" v="98" actId="14100"/>
          <ac:picMkLst>
            <pc:docMk/>
            <pc:sldMk cId="1875027611" sldId="1985"/>
            <ac:picMk id="6" creationId="{171ACD72-3FCC-49DE-861D-48A1E8FC2522}"/>
          </ac:picMkLst>
        </pc:picChg>
      </pc:sldChg>
      <pc:sldChg chg="addSp delSp modSp add mod ord modShow addCm">
        <pc:chgData name="Matias Rama" userId="bdb996b8-8278-412a-926d-fa225ff77c33" providerId="ADAL" clId="{5B43D872-01C2-4BB4-BCD1-2052AA32DBA5}" dt="2020-05-05T22:53:19.385" v="24"/>
        <pc:sldMkLst>
          <pc:docMk/>
          <pc:sldMk cId="3081173804" sldId="1986"/>
        </pc:sldMkLst>
        <pc:spChg chg="add mod">
          <ac:chgData name="Matias Rama" userId="bdb996b8-8278-412a-926d-fa225ff77c33" providerId="ADAL" clId="{5B43D872-01C2-4BB4-BCD1-2052AA32DBA5}" dt="2020-05-05T22:52:43.364" v="23" actId="1076"/>
          <ac:spMkLst>
            <pc:docMk/>
            <pc:sldMk cId="3081173804" sldId="1986"/>
            <ac:spMk id="5" creationId="{C05DDE8C-D903-4649-8187-4B3A6C0527F2}"/>
          </ac:spMkLst>
        </pc:spChg>
        <pc:picChg chg="add del mod">
          <ac:chgData name="Matias Rama" userId="bdb996b8-8278-412a-926d-fa225ff77c33" providerId="ADAL" clId="{5B43D872-01C2-4BB4-BCD1-2052AA32DBA5}" dt="2020-05-05T22:51:28.189" v="14" actId="478"/>
          <ac:picMkLst>
            <pc:docMk/>
            <pc:sldMk cId="3081173804" sldId="1986"/>
            <ac:picMk id="2" creationId="{6DB904D3-BAAC-47C8-AC2D-E616A747C5E7}"/>
          </ac:picMkLst>
        </pc:picChg>
        <pc:picChg chg="add mod">
          <ac:chgData name="Matias Rama" userId="bdb996b8-8278-412a-926d-fa225ff77c33" providerId="ADAL" clId="{5B43D872-01C2-4BB4-BCD1-2052AA32DBA5}" dt="2020-05-05T22:52:06.012" v="20" actId="14100"/>
          <ac:picMkLst>
            <pc:docMk/>
            <pc:sldMk cId="3081173804" sldId="1986"/>
            <ac:picMk id="4" creationId="{5167A116-0922-4640-9E9B-B0F35D15BA42}"/>
          </ac:picMkLst>
        </pc:picChg>
        <pc:picChg chg="del">
          <ac:chgData name="Matias Rama" userId="bdb996b8-8278-412a-926d-fa225ff77c33" providerId="ADAL" clId="{5B43D872-01C2-4BB4-BCD1-2052AA32DBA5}" dt="2020-05-05T22:51:23.460" v="11" actId="478"/>
          <ac:picMkLst>
            <pc:docMk/>
            <pc:sldMk cId="3081173804" sldId="1986"/>
            <ac:picMk id="16" creationId="{DCC9A83D-79B2-4101-8DA1-224BDF3437B1}"/>
          </ac:picMkLst>
        </pc:picChg>
      </pc:sldChg>
      <pc:sldChg chg="modSp add mod">
        <pc:chgData name="Matias Rama" userId="bdb996b8-8278-412a-926d-fa225ff77c33" providerId="ADAL" clId="{5B43D872-01C2-4BB4-BCD1-2052AA32DBA5}" dt="2020-05-05T22:53:54.401" v="31" actId="20577"/>
        <pc:sldMkLst>
          <pc:docMk/>
          <pc:sldMk cId="2397058738" sldId="1987"/>
        </pc:sldMkLst>
        <pc:spChg chg="mod">
          <ac:chgData name="Matias Rama" userId="bdb996b8-8278-412a-926d-fa225ff77c33" providerId="ADAL" clId="{5B43D872-01C2-4BB4-BCD1-2052AA32DBA5}" dt="2020-05-05T22:53:50.074" v="27" actId="1076"/>
          <ac:spMkLst>
            <pc:docMk/>
            <pc:sldMk cId="2397058738" sldId="1987"/>
            <ac:spMk id="2" creationId="{9AD53B02-CD60-4933-B99F-65101A35143F}"/>
          </ac:spMkLst>
        </pc:spChg>
        <pc:spChg chg="mod">
          <ac:chgData name="Matias Rama" userId="bdb996b8-8278-412a-926d-fa225ff77c33" providerId="ADAL" clId="{5B43D872-01C2-4BB4-BCD1-2052AA32DBA5}" dt="2020-05-05T22:53:54.401" v="31" actId="20577"/>
          <ac:spMkLst>
            <pc:docMk/>
            <pc:sldMk cId="2397058738" sldId="1987"/>
            <ac:spMk id="5" creationId="{5C12F6E7-CAD8-420D-8EC9-18B5D66A4AAB}"/>
          </ac:spMkLst>
        </pc:spChg>
      </pc:sldChg>
      <pc:sldChg chg="add">
        <pc:chgData name="Matias Rama" userId="bdb996b8-8278-412a-926d-fa225ff77c33" providerId="ADAL" clId="{5B43D872-01C2-4BB4-BCD1-2052AA32DBA5}" dt="2020-05-05T22:56:22.058" v="84" actId="22"/>
        <pc:sldMkLst>
          <pc:docMk/>
          <pc:sldMk cId="3711151781" sldId="1988"/>
        </pc:sldMkLst>
      </pc:sldChg>
      <pc:sldChg chg="add">
        <pc:chgData name="Matias Rama" userId="bdb996b8-8278-412a-926d-fa225ff77c33" providerId="ADAL" clId="{5B43D872-01C2-4BB4-BCD1-2052AA32DBA5}" dt="2020-05-05T22:56:22.058" v="84" actId="22"/>
        <pc:sldMkLst>
          <pc:docMk/>
          <pc:sldMk cId="4093496454" sldId="1989"/>
        </pc:sldMkLst>
      </pc:sldChg>
      <pc:sldChg chg="add">
        <pc:chgData name="Matias Rama" userId="bdb996b8-8278-412a-926d-fa225ff77c33" providerId="ADAL" clId="{5B43D872-01C2-4BB4-BCD1-2052AA32DBA5}" dt="2020-05-05T22:56:22.058" v="84" actId="22"/>
        <pc:sldMkLst>
          <pc:docMk/>
          <pc:sldMk cId="1674848170" sldId="1990"/>
        </pc:sldMkLst>
      </pc:sldChg>
      <pc:sldChg chg="add">
        <pc:chgData name="Matias Rama" userId="bdb996b8-8278-412a-926d-fa225ff77c33" providerId="ADAL" clId="{5B43D872-01C2-4BB4-BCD1-2052AA32DBA5}" dt="2020-05-05T22:56:22.058" v="84" actId="22"/>
        <pc:sldMkLst>
          <pc:docMk/>
          <pc:sldMk cId="3851442531" sldId="1991"/>
        </pc:sldMkLst>
      </pc:sldChg>
      <pc:sldChg chg="addSp delSp modSp add mod">
        <pc:chgData name="Matias Rama" userId="bdb996b8-8278-412a-926d-fa225ff77c33" providerId="ADAL" clId="{5B43D872-01C2-4BB4-BCD1-2052AA32DBA5}" dt="2020-05-05T23:10:51.545" v="155" actId="22"/>
        <pc:sldMkLst>
          <pc:docMk/>
          <pc:sldMk cId="829854860" sldId="1992"/>
        </pc:sldMkLst>
        <pc:spChg chg="mod">
          <ac:chgData name="Matias Rama" userId="bdb996b8-8278-412a-926d-fa225ff77c33" providerId="ADAL" clId="{5B43D872-01C2-4BB4-BCD1-2052AA32DBA5}" dt="2020-05-05T23:09:34.965" v="114" actId="20577"/>
          <ac:spMkLst>
            <pc:docMk/>
            <pc:sldMk cId="829854860" sldId="1992"/>
            <ac:spMk id="2" creationId="{4B90FCF2-EECD-430D-9A80-C888748FFCE6}"/>
          </ac:spMkLst>
        </pc:spChg>
        <pc:spChg chg="del">
          <ac:chgData name="Matias Rama" userId="bdb996b8-8278-412a-926d-fa225ff77c33" providerId="ADAL" clId="{5B43D872-01C2-4BB4-BCD1-2052AA32DBA5}" dt="2020-05-05T23:09:39.774" v="115" actId="478"/>
          <ac:spMkLst>
            <pc:docMk/>
            <pc:sldMk cId="829854860" sldId="1992"/>
            <ac:spMk id="3" creationId="{B366DBEB-39FC-41F7-ABA7-643FBB5AFCC2}"/>
          </ac:spMkLst>
        </pc:spChg>
        <pc:spChg chg="add">
          <ac:chgData name="Matias Rama" userId="bdb996b8-8278-412a-926d-fa225ff77c33" providerId="ADAL" clId="{5B43D872-01C2-4BB4-BCD1-2052AA32DBA5}" dt="2020-05-05T23:10:51.545" v="155" actId="22"/>
          <ac:spMkLst>
            <pc:docMk/>
            <pc:sldMk cId="829854860" sldId="1992"/>
            <ac:spMk id="4" creationId="{E1F5F968-31D4-4409-BB85-C79F2BE4BAA6}"/>
          </ac:spMkLst>
        </pc:spChg>
      </pc:sldChg>
      <pc:sldChg chg="addSp delSp modSp add del mod modShow">
        <pc:chgData name="Matias Rama" userId="bdb996b8-8278-412a-926d-fa225ff77c33" providerId="ADAL" clId="{5B43D872-01C2-4BB4-BCD1-2052AA32DBA5}" dt="2020-05-05T22:59:30.573" v="102" actId="47"/>
        <pc:sldMkLst>
          <pc:docMk/>
          <pc:sldMk cId="4107722894" sldId="1992"/>
        </pc:sldMkLst>
        <pc:picChg chg="add del mod">
          <ac:chgData name="Matias Rama" userId="bdb996b8-8278-412a-926d-fa225ff77c33" providerId="ADAL" clId="{5B43D872-01C2-4BB4-BCD1-2052AA32DBA5}" dt="2020-05-05T22:59:25.065" v="101" actId="478"/>
          <ac:picMkLst>
            <pc:docMk/>
            <pc:sldMk cId="4107722894" sldId="1992"/>
            <ac:picMk id="6" creationId="{0A3F5345-06D6-4027-9B64-BD64DC049BF1}"/>
          </ac:picMkLst>
        </pc:picChg>
      </pc:sldChg>
      <pc:sldChg chg="addSp delSp modSp add mod">
        <pc:chgData name="Matias Rama" userId="bdb996b8-8278-412a-926d-fa225ff77c33" providerId="ADAL" clId="{5B43D872-01C2-4BB4-BCD1-2052AA32DBA5}" dt="2020-05-05T23:10:54.137" v="156" actId="22"/>
        <pc:sldMkLst>
          <pc:docMk/>
          <pc:sldMk cId="1887220588" sldId="1993"/>
        </pc:sldMkLst>
        <pc:spChg chg="mod">
          <ac:chgData name="Matias Rama" userId="bdb996b8-8278-412a-926d-fa225ff77c33" providerId="ADAL" clId="{5B43D872-01C2-4BB4-BCD1-2052AA32DBA5}" dt="2020-05-05T23:09:58.922" v="123" actId="20577"/>
          <ac:spMkLst>
            <pc:docMk/>
            <pc:sldMk cId="1887220588" sldId="1993"/>
            <ac:spMk id="2" creationId="{4B90FCF2-EECD-430D-9A80-C888748FFCE6}"/>
          </ac:spMkLst>
        </pc:spChg>
        <pc:spChg chg="del">
          <ac:chgData name="Matias Rama" userId="bdb996b8-8278-412a-926d-fa225ff77c33" providerId="ADAL" clId="{5B43D872-01C2-4BB4-BCD1-2052AA32DBA5}" dt="2020-05-05T23:10:02.699" v="124" actId="478"/>
          <ac:spMkLst>
            <pc:docMk/>
            <pc:sldMk cId="1887220588" sldId="1993"/>
            <ac:spMk id="3" creationId="{B366DBEB-39FC-41F7-ABA7-643FBB5AFCC2}"/>
          </ac:spMkLst>
        </pc:spChg>
        <pc:spChg chg="add">
          <ac:chgData name="Matias Rama" userId="bdb996b8-8278-412a-926d-fa225ff77c33" providerId="ADAL" clId="{5B43D872-01C2-4BB4-BCD1-2052AA32DBA5}" dt="2020-05-05T23:10:54.137" v="156" actId="22"/>
          <ac:spMkLst>
            <pc:docMk/>
            <pc:sldMk cId="1887220588" sldId="1993"/>
            <ac:spMk id="4" creationId="{D4500508-199B-4350-8FE7-03E23CBDBADF}"/>
          </ac:spMkLst>
        </pc:spChg>
      </pc:sldChg>
      <pc:sldChg chg="addSp delSp modSp add mod">
        <pc:chgData name="Matias Rama" userId="bdb996b8-8278-412a-926d-fa225ff77c33" providerId="ADAL" clId="{5B43D872-01C2-4BB4-BCD1-2052AA32DBA5}" dt="2020-05-05T23:10:55.279" v="157" actId="22"/>
        <pc:sldMkLst>
          <pc:docMk/>
          <pc:sldMk cId="1437757327" sldId="1994"/>
        </pc:sldMkLst>
        <pc:spChg chg="mod">
          <ac:chgData name="Matias Rama" userId="bdb996b8-8278-412a-926d-fa225ff77c33" providerId="ADAL" clId="{5B43D872-01C2-4BB4-BCD1-2052AA32DBA5}" dt="2020-05-05T23:10:38.640" v="153" actId="20577"/>
          <ac:spMkLst>
            <pc:docMk/>
            <pc:sldMk cId="1437757327" sldId="1994"/>
            <ac:spMk id="2" creationId="{4B90FCF2-EECD-430D-9A80-C888748FFCE6}"/>
          </ac:spMkLst>
        </pc:spChg>
        <pc:spChg chg="del">
          <ac:chgData name="Matias Rama" userId="bdb996b8-8278-412a-926d-fa225ff77c33" providerId="ADAL" clId="{5B43D872-01C2-4BB4-BCD1-2052AA32DBA5}" dt="2020-05-05T23:10:41.286" v="154" actId="478"/>
          <ac:spMkLst>
            <pc:docMk/>
            <pc:sldMk cId="1437757327" sldId="1994"/>
            <ac:spMk id="3" creationId="{B366DBEB-39FC-41F7-ABA7-643FBB5AFCC2}"/>
          </ac:spMkLst>
        </pc:spChg>
        <pc:spChg chg="add">
          <ac:chgData name="Matias Rama" userId="bdb996b8-8278-412a-926d-fa225ff77c33" providerId="ADAL" clId="{5B43D872-01C2-4BB4-BCD1-2052AA32DBA5}" dt="2020-05-05T23:10:55.279" v="157" actId="22"/>
          <ac:spMkLst>
            <pc:docMk/>
            <pc:sldMk cId="1437757327" sldId="1994"/>
            <ac:spMk id="4" creationId="{80B7EB78-F06D-47DF-A1B9-0013E00A097D}"/>
          </ac:spMkLst>
        </pc:spChg>
      </pc:sldChg>
      <pc:sldMasterChg chg="addSldLayout">
        <pc:chgData name="Matias Rama" userId="bdb996b8-8278-412a-926d-fa225ff77c33" providerId="ADAL" clId="{5B43D872-01C2-4BB4-BCD1-2052AA32DBA5}" dt="2020-05-05T23:09:30.224" v="104" actId="22"/>
        <pc:sldMasterMkLst>
          <pc:docMk/>
          <pc:sldMasterMk cId="1790270825" sldId="2147484082"/>
        </pc:sldMasterMkLst>
        <pc:sldLayoutChg chg="add">
          <pc:chgData name="Matias Rama" userId="bdb996b8-8278-412a-926d-fa225ff77c33" providerId="ADAL" clId="{5B43D872-01C2-4BB4-BCD1-2052AA32DBA5}" dt="2020-05-05T23:09:30.224" v="104" actId="22"/>
          <pc:sldLayoutMkLst>
            <pc:docMk/>
            <pc:sldMasterMk cId="1790270825" sldId="2147484082"/>
            <pc:sldLayoutMk cId="1104929464" sldId="2147484268"/>
          </pc:sldLayoutMkLst>
        </pc:sldLayoutChg>
      </pc:sldMasterChg>
      <pc:sldMasterChg chg="addSldLayout">
        <pc:chgData name="Matias Rama" userId="bdb996b8-8278-412a-926d-fa225ff77c33" providerId="ADAL" clId="{5B43D872-01C2-4BB4-BCD1-2052AA32DBA5}" dt="2020-05-05T22:52:24.970" v="21" actId="22"/>
        <pc:sldMasterMkLst>
          <pc:docMk/>
          <pc:sldMasterMk cId="1150004912" sldId="2147484275"/>
        </pc:sldMasterMkLst>
        <pc:sldLayoutChg chg="add">
          <pc:chgData name="Matias Rama" userId="bdb996b8-8278-412a-926d-fa225ff77c33" providerId="ADAL" clId="{5B43D872-01C2-4BB4-BCD1-2052AA32DBA5}" dt="2020-05-05T22:52:24.970" v="21" actId="22"/>
          <pc:sldLayoutMkLst>
            <pc:docMk/>
            <pc:sldMasterMk cId="1150004912" sldId="2147484275"/>
            <pc:sldLayoutMk cId="4136931003" sldId="2147484339"/>
          </pc:sldLayoutMkLst>
        </pc:sldLayoutChg>
      </pc:sldMasterChg>
    </pc:docChg>
  </pc:docChgLst>
  <pc:docChgLst>
    <pc:chgData name="Nick Miller (PFE)" userId="afe30545-da51-4cda-82da-aebfb9951a6d" providerId="ADAL" clId="{AFF691D0-B434-420D-AC93-558A55AAA96C}"/>
    <pc:docChg chg="modSld">
      <pc:chgData name="Nick Miller (PFE)" userId="afe30545-da51-4cda-82da-aebfb9951a6d" providerId="ADAL" clId="{AFF691D0-B434-420D-AC93-558A55AAA96C}" dt="2020-03-27T20:07:53.342" v="33" actId="20577"/>
      <pc:docMkLst>
        <pc:docMk/>
      </pc:docMkLst>
      <pc:sldChg chg="modSp mod">
        <pc:chgData name="Nick Miller (PFE)" userId="afe30545-da51-4cda-82da-aebfb9951a6d" providerId="ADAL" clId="{AFF691D0-B434-420D-AC93-558A55AAA96C}" dt="2020-03-27T18:37:28.015" v="28" actId="255"/>
        <pc:sldMkLst>
          <pc:docMk/>
          <pc:sldMk cId="616292797" sldId="406"/>
        </pc:sldMkLst>
        <pc:spChg chg="mod">
          <ac:chgData name="Nick Miller (PFE)" userId="afe30545-da51-4cda-82da-aebfb9951a6d" providerId="ADAL" clId="{AFF691D0-B434-420D-AC93-558A55AAA96C}" dt="2020-03-27T18:37:28.015" v="28" actId="255"/>
          <ac:spMkLst>
            <pc:docMk/>
            <pc:sldMk cId="616292797" sldId="406"/>
            <ac:spMk id="2" creationId="{00000000-0000-0000-0000-000000000000}"/>
          </ac:spMkLst>
        </pc:spChg>
      </pc:sldChg>
      <pc:sldChg chg="modSp">
        <pc:chgData name="Nick Miller (PFE)" userId="afe30545-da51-4cda-82da-aebfb9951a6d" providerId="ADAL" clId="{AFF691D0-B434-420D-AC93-558A55AAA96C}" dt="2020-03-27T20:07:53.342" v="33" actId="20577"/>
        <pc:sldMkLst>
          <pc:docMk/>
          <pc:sldMk cId="3486571688" sldId="426"/>
        </pc:sldMkLst>
        <pc:spChg chg="mod">
          <ac:chgData name="Nick Miller (PFE)" userId="afe30545-da51-4cda-82da-aebfb9951a6d" providerId="ADAL" clId="{AFF691D0-B434-420D-AC93-558A55AAA96C}" dt="2020-03-27T20:07:53.342" v="33" actId="20577"/>
          <ac:spMkLst>
            <pc:docMk/>
            <pc:sldMk cId="3486571688" sldId="426"/>
            <ac:spMk id="2" creationId="{9010681A-0D45-41F6-BE85-00C7915E7027}"/>
          </ac:spMkLst>
        </pc:spChg>
      </pc:sldChg>
      <pc:sldChg chg="modSp mod">
        <pc:chgData name="Nick Miller (PFE)" userId="afe30545-da51-4cda-82da-aebfb9951a6d" providerId="ADAL" clId="{AFF691D0-B434-420D-AC93-558A55AAA96C}" dt="2020-03-27T19:25:11.347" v="30" actId="14100"/>
        <pc:sldMkLst>
          <pc:docMk/>
          <pc:sldMk cId="1875027611" sldId="1985"/>
        </pc:sldMkLst>
        <pc:spChg chg="mod">
          <ac:chgData name="Nick Miller (PFE)" userId="afe30545-da51-4cda-82da-aebfb9951a6d" providerId="ADAL" clId="{AFF691D0-B434-420D-AC93-558A55AAA96C}" dt="2020-03-27T19:25:11.347" v="30" actId="14100"/>
          <ac:spMkLst>
            <pc:docMk/>
            <pc:sldMk cId="1875027611" sldId="1985"/>
            <ac:spMk id="3" creationId="{C497D5A6-330C-4DB4-8B38-BFF51F04CBA8}"/>
          </ac:spMkLst>
        </pc:spChg>
      </pc:sldChg>
    </pc:docChg>
  </pc:docChgLst>
  <pc:docChgLst>
    <pc:chgData name="Guest User" providerId="Windows Live" clId="Web-{29E3A4DF-3290-49CE-8F40-A9AFB1A18667}"/>
    <pc:docChg chg="modSld">
      <pc:chgData name="Guest User" userId="" providerId="Windows Live" clId="Web-{29E3A4DF-3290-49CE-8F40-A9AFB1A18667}" dt="2020-08-25T20:46:12.456" v="38" actId="20577"/>
      <pc:docMkLst>
        <pc:docMk/>
      </pc:docMkLst>
      <pc:sldChg chg="modSp">
        <pc:chgData name="Guest User" userId="" providerId="Windows Live" clId="Web-{29E3A4DF-3290-49CE-8F40-A9AFB1A18667}" dt="2020-08-25T20:11:48.178" v="2" actId="20577"/>
        <pc:sldMkLst>
          <pc:docMk/>
          <pc:sldMk cId="6914788" sldId="418"/>
        </pc:sldMkLst>
        <pc:spChg chg="mod">
          <ac:chgData name="Guest User" userId="" providerId="Windows Live" clId="Web-{29E3A4DF-3290-49CE-8F40-A9AFB1A18667}" dt="2020-08-25T20:11:48.178" v="2" actId="20577"/>
          <ac:spMkLst>
            <pc:docMk/>
            <pc:sldMk cId="6914788" sldId="418"/>
            <ac:spMk id="3" creationId="{00000000-0000-0000-0000-000000000000}"/>
          </ac:spMkLst>
        </pc:spChg>
      </pc:sldChg>
      <pc:sldChg chg="modSp">
        <pc:chgData name="Guest User" userId="" providerId="Windows Live" clId="Web-{29E3A4DF-3290-49CE-8F40-A9AFB1A18667}" dt="2020-08-25T20:46:12.394" v="36" actId="20577"/>
        <pc:sldMkLst>
          <pc:docMk/>
          <pc:sldMk cId="3486571688" sldId="426"/>
        </pc:sldMkLst>
        <pc:spChg chg="mod">
          <ac:chgData name="Guest User" userId="" providerId="Windows Live" clId="Web-{29E3A4DF-3290-49CE-8F40-A9AFB1A18667}" dt="2020-08-25T20:46:12.394" v="36" actId="20577"/>
          <ac:spMkLst>
            <pc:docMk/>
            <pc:sldMk cId="3486571688" sldId="426"/>
            <ac:spMk id="2" creationId="{9010681A-0D45-41F6-BE85-00C7915E7027}"/>
          </ac:spMkLst>
        </pc:spChg>
      </pc:sldChg>
      <pc:sldChg chg="modSp">
        <pc:chgData name="Guest User" userId="" providerId="Windows Live" clId="Web-{29E3A4DF-3290-49CE-8F40-A9AFB1A18667}" dt="2020-08-25T20:35:42.153" v="32" actId="20577"/>
        <pc:sldMkLst>
          <pc:docMk/>
          <pc:sldMk cId="1875027611" sldId="1985"/>
        </pc:sldMkLst>
        <pc:spChg chg="mod">
          <ac:chgData name="Guest User" userId="" providerId="Windows Live" clId="Web-{29E3A4DF-3290-49CE-8F40-A9AFB1A18667}" dt="2020-08-25T20:12:20.711" v="6" actId="20577"/>
          <ac:spMkLst>
            <pc:docMk/>
            <pc:sldMk cId="1875027611" sldId="1985"/>
            <ac:spMk id="2" creationId="{BE86EB64-FD4C-459D-B464-A3D329DB8677}"/>
          </ac:spMkLst>
        </pc:spChg>
        <pc:spChg chg="mod">
          <ac:chgData name="Guest User" userId="" providerId="Windows Live" clId="Web-{29E3A4DF-3290-49CE-8F40-A9AFB1A18667}" dt="2020-08-25T20:35:42.153" v="32" actId="20577"/>
          <ac:spMkLst>
            <pc:docMk/>
            <pc:sldMk cId="1875027611" sldId="1985"/>
            <ac:spMk id="3" creationId="{C497D5A6-330C-4DB4-8B38-BFF51F04CBA8}"/>
          </ac:spMkLst>
        </pc:spChg>
      </pc:sldChg>
      <pc:sldChg chg="modSp">
        <pc:chgData name="Guest User" userId="" providerId="Windows Live" clId="Web-{29E3A4DF-3290-49CE-8F40-A9AFB1A18667}" dt="2020-08-25T20:16:49.133" v="17" actId="20577"/>
        <pc:sldMkLst>
          <pc:docMk/>
          <pc:sldMk cId="3081173804" sldId="1986"/>
        </pc:sldMkLst>
        <pc:spChg chg="mod">
          <ac:chgData name="Guest User" userId="" providerId="Windows Live" clId="Web-{29E3A4DF-3290-49CE-8F40-A9AFB1A18667}" dt="2020-08-25T20:11:23.489" v="0" actId="20577"/>
          <ac:spMkLst>
            <pc:docMk/>
            <pc:sldMk cId="3081173804" sldId="1986"/>
            <ac:spMk id="3" creationId="{204B7BCB-9541-4C31-BB2F-5DFD3F6E46A0}"/>
          </ac:spMkLst>
        </pc:spChg>
        <pc:spChg chg="mod">
          <ac:chgData name="Guest User" userId="" providerId="Windows Live" clId="Web-{29E3A4DF-3290-49CE-8F40-A9AFB1A18667}" dt="2020-08-25T20:16:49.133" v="17" actId="20577"/>
          <ac:spMkLst>
            <pc:docMk/>
            <pc:sldMk cId="3081173804" sldId="1986"/>
            <ac:spMk id="7" creationId="{5EB3B185-9895-46BC-9BA5-2EC41D5B7C43}"/>
          </ac:spMkLst>
        </pc:spChg>
      </pc:sldChg>
      <pc:sldChg chg="modSp">
        <pc:chgData name="Guest User" userId="" providerId="Windows Live" clId="Web-{29E3A4DF-3290-49CE-8F40-A9AFB1A18667}" dt="2020-08-25T20:20:16.036" v="27" actId="20577"/>
        <pc:sldMkLst>
          <pc:docMk/>
          <pc:sldMk cId="2397058738" sldId="1987"/>
        </pc:sldMkLst>
        <pc:spChg chg="mod">
          <ac:chgData name="Guest User" userId="" providerId="Windows Live" clId="Web-{29E3A4DF-3290-49CE-8F40-A9AFB1A18667}" dt="2020-08-25T20:11:40.177" v="1" actId="20577"/>
          <ac:spMkLst>
            <pc:docMk/>
            <pc:sldMk cId="2397058738" sldId="1987"/>
            <ac:spMk id="5" creationId="{5C12F6E7-CAD8-420D-8EC9-18B5D66A4AAB}"/>
          </ac:spMkLst>
        </pc:spChg>
        <pc:spChg chg="mod">
          <ac:chgData name="Guest User" userId="" providerId="Windows Live" clId="Web-{29E3A4DF-3290-49CE-8F40-A9AFB1A18667}" dt="2020-08-25T20:20:16.036" v="27" actId="20577"/>
          <ac:spMkLst>
            <pc:docMk/>
            <pc:sldMk cId="2397058738" sldId="1987"/>
            <ac:spMk id="7" creationId="{084F0EE3-70B5-4533-A0A3-C9B4AA06EF1C}"/>
          </ac:spMkLst>
        </pc:spChg>
      </pc:sldChg>
      <pc:sldChg chg="modSp">
        <pc:chgData name="Guest User" userId="" providerId="Windows Live" clId="Web-{29E3A4DF-3290-49CE-8F40-A9AFB1A18667}" dt="2020-08-25T20:11:55.553" v="3" actId="20577"/>
        <pc:sldMkLst>
          <pc:docMk/>
          <pc:sldMk cId="3711151781" sldId="1988"/>
        </pc:sldMkLst>
        <pc:spChg chg="mod">
          <ac:chgData name="Guest User" userId="" providerId="Windows Live" clId="Web-{29E3A4DF-3290-49CE-8F40-A9AFB1A18667}" dt="2020-08-25T20:11:55.553" v="3" actId="20577"/>
          <ac:spMkLst>
            <pc:docMk/>
            <pc:sldMk cId="3711151781" sldId="1988"/>
            <ac:spMk id="3" creationId="{A01C5015-850D-4AB4-BBC4-5CD47E1DB9FE}"/>
          </ac:spMkLst>
        </pc:spChg>
      </pc:sldChg>
      <pc:sldChg chg="modSp">
        <pc:chgData name="Guest User" userId="" providerId="Windows Live" clId="Web-{29E3A4DF-3290-49CE-8F40-A9AFB1A18667}" dt="2020-08-25T20:12:07.022" v="5" actId="20577"/>
        <pc:sldMkLst>
          <pc:docMk/>
          <pc:sldMk cId="4093496454" sldId="1989"/>
        </pc:sldMkLst>
        <pc:spChg chg="mod">
          <ac:chgData name="Guest User" userId="" providerId="Windows Live" clId="Web-{29E3A4DF-3290-49CE-8F40-A9AFB1A18667}" dt="2020-08-25T20:12:07.022" v="5" actId="20577"/>
          <ac:spMkLst>
            <pc:docMk/>
            <pc:sldMk cId="4093496454" sldId="1989"/>
            <ac:spMk id="2" creationId="{00000000-0000-0000-0000-000000000000}"/>
          </ac:spMkLst>
        </pc:spChg>
      </pc:sldChg>
      <pc:sldChg chg="modSp">
        <pc:chgData name="Guest User" userId="" providerId="Windows Live" clId="Web-{29E3A4DF-3290-49CE-8F40-A9AFB1A18667}" dt="2020-08-25T20:12:28.586" v="7" actId="20577"/>
        <pc:sldMkLst>
          <pc:docMk/>
          <pc:sldMk cId="1674848170" sldId="1990"/>
        </pc:sldMkLst>
        <pc:spChg chg="mod">
          <ac:chgData name="Guest User" userId="" providerId="Windows Live" clId="Web-{29E3A4DF-3290-49CE-8F40-A9AFB1A18667}" dt="2020-08-25T20:12:28.586" v="7" actId="20577"/>
          <ac:spMkLst>
            <pc:docMk/>
            <pc:sldMk cId="1674848170" sldId="1990"/>
            <ac:spMk id="2" creationId="{00000000-0000-0000-0000-000000000000}"/>
          </ac:spMkLst>
        </pc:spChg>
      </pc:sldChg>
      <pc:sldChg chg="modSp">
        <pc:chgData name="Guest User" userId="" providerId="Windows Live" clId="Web-{29E3A4DF-3290-49CE-8F40-A9AFB1A18667}" dt="2020-08-25T20:16:25.007" v="13" actId="20577"/>
        <pc:sldMkLst>
          <pc:docMk/>
          <pc:sldMk cId="3851442531" sldId="1991"/>
        </pc:sldMkLst>
        <pc:spChg chg="mod">
          <ac:chgData name="Guest User" userId="" providerId="Windows Live" clId="Web-{29E3A4DF-3290-49CE-8F40-A9AFB1A18667}" dt="2020-08-25T20:12:43.446" v="8" actId="20577"/>
          <ac:spMkLst>
            <pc:docMk/>
            <pc:sldMk cId="3851442531" sldId="1991"/>
            <ac:spMk id="2" creationId="{DF2AF14D-3921-4BE1-AE69-9F95C287E4D8}"/>
          </ac:spMkLst>
        </pc:spChg>
        <pc:spChg chg="mod">
          <ac:chgData name="Guest User" userId="" providerId="Windows Live" clId="Web-{29E3A4DF-3290-49CE-8F40-A9AFB1A18667}" dt="2020-08-25T20:16:25.007" v="13" actId="20577"/>
          <ac:spMkLst>
            <pc:docMk/>
            <pc:sldMk cId="3851442531" sldId="1991"/>
            <ac:spMk id="3" creationId="{3DC10D10-E8DD-447D-9E1B-B50109ECBD94}"/>
          </ac:spMkLst>
        </pc:spChg>
      </pc:sldChg>
    </pc:docChg>
  </pc:docChgLst>
  <pc:docChgLst>
    <pc:chgData name="Christopher Weaver" userId="S::christwe@microsoft.com::2d47d5c7-389a-4b91-8fc5-dfad12ad20c7" providerId="AD" clId="Web-{539E1527-A88C-143B-EC43-DC6216440982}"/>
    <pc:docChg chg="modSld">
      <pc:chgData name="Christopher Weaver" userId="S::christwe@microsoft.com::2d47d5c7-389a-4b91-8fc5-dfad12ad20c7" providerId="AD" clId="Web-{539E1527-A88C-143B-EC43-DC6216440982}" dt="2020-01-28T15:38:46.949" v="5" actId="20577"/>
      <pc:docMkLst>
        <pc:docMk/>
      </pc:docMkLst>
      <pc:sldChg chg="modSp">
        <pc:chgData name="Christopher Weaver" userId="S::christwe@microsoft.com::2d47d5c7-389a-4b91-8fc5-dfad12ad20c7" providerId="AD" clId="Web-{539E1527-A88C-143B-EC43-DC6216440982}" dt="2020-01-28T15:38:46.949" v="4" actId="20577"/>
        <pc:sldMkLst>
          <pc:docMk/>
          <pc:sldMk cId="1875027611" sldId="1985"/>
        </pc:sldMkLst>
        <pc:spChg chg="mod">
          <ac:chgData name="Christopher Weaver" userId="S::christwe@microsoft.com::2d47d5c7-389a-4b91-8fc5-dfad12ad20c7" providerId="AD" clId="Web-{539E1527-A88C-143B-EC43-DC6216440982}" dt="2020-01-28T15:38:46.949" v="4" actId="20577"/>
          <ac:spMkLst>
            <pc:docMk/>
            <pc:sldMk cId="1875027611" sldId="1985"/>
            <ac:spMk id="5" creationId="{920DB69D-009B-419C-9C46-0C582BAEAD46}"/>
          </ac:spMkLst>
        </pc:spChg>
      </pc:sldChg>
    </pc:docChg>
  </pc:docChgLst>
  <pc:docChgLst>
    <pc:chgData name="Christopher Weaver" userId="2d47d5c7-389a-4b91-8fc5-dfad12ad20c7" providerId="ADAL" clId="{D16AF3FA-45AE-48D8-9E49-416D77F43661}"/>
    <pc:docChg chg="custSel addSld delSld modSld sldOrd">
      <pc:chgData name="Christopher Weaver" userId="2d47d5c7-389a-4b91-8fc5-dfad12ad20c7" providerId="ADAL" clId="{D16AF3FA-45AE-48D8-9E49-416D77F43661}" dt="2019-05-08T14:53:03.189" v="726" actId="20577"/>
      <pc:docMkLst>
        <pc:docMk/>
      </pc:docMkLst>
      <pc:sldChg chg="ord modNotesTx">
        <pc:chgData name="Christopher Weaver" userId="2d47d5c7-389a-4b91-8fc5-dfad12ad20c7" providerId="ADAL" clId="{D16AF3FA-45AE-48D8-9E49-416D77F43661}" dt="2019-05-03T17:48:22.288" v="102" actId="20577"/>
        <pc:sldMkLst>
          <pc:docMk/>
          <pc:sldMk cId="2744750839" sldId="365"/>
        </pc:sldMkLst>
      </pc:sldChg>
      <pc:sldChg chg="addSp delSp modSp">
        <pc:chgData name="Christopher Weaver" userId="2d47d5c7-389a-4b91-8fc5-dfad12ad20c7" providerId="ADAL" clId="{D16AF3FA-45AE-48D8-9E49-416D77F43661}" dt="2019-05-03T18:13:05.252" v="311" actId="14100"/>
        <pc:sldMkLst>
          <pc:docMk/>
          <pc:sldMk cId="3980266769" sldId="381"/>
        </pc:sldMkLst>
        <pc:spChg chg="mod">
          <ac:chgData name="Christopher Weaver" userId="2d47d5c7-389a-4b91-8fc5-dfad12ad20c7" providerId="ADAL" clId="{D16AF3FA-45AE-48D8-9E49-416D77F43661}" dt="2019-04-30T19:24:12.013" v="56" actId="14100"/>
          <ac:spMkLst>
            <pc:docMk/>
            <pc:sldMk cId="3980266769" sldId="381"/>
            <ac:spMk id="3" creationId="{00000000-0000-0000-0000-000000000000}"/>
          </ac:spMkLst>
        </pc:spChg>
        <pc:picChg chg="add del mod">
          <ac:chgData name="Christopher Weaver" userId="2d47d5c7-389a-4b91-8fc5-dfad12ad20c7" providerId="ADAL" clId="{D16AF3FA-45AE-48D8-9E49-416D77F43661}" dt="2019-05-03T18:01:25.433" v="107" actId="478"/>
          <ac:picMkLst>
            <pc:docMk/>
            <pc:sldMk cId="3980266769" sldId="381"/>
            <ac:picMk id="4" creationId="{E21497F1-CB16-4E2E-98E3-9ABADA9451FA}"/>
          </ac:picMkLst>
        </pc:picChg>
        <pc:picChg chg="add del mod">
          <ac:chgData name="Christopher Weaver" userId="2d47d5c7-389a-4b91-8fc5-dfad12ad20c7" providerId="ADAL" clId="{D16AF3FA-45AE-48D8-9E49-416D77F43661}" dt="2019-05-03T18:03:58.443" v="114"/>
          <ac:picMkLst>
            <pc:docMk/>
            <pc:sldMk cId="3980266769" sldId="381"/>
            <ac:picMk id="5" creationId="{3B2753A8-0390-4536-AF09-2369126F4154}"/>
          </ac:picMkLst>
        </pc:picChg>
        <pc:picChg chg="add mod">
          <ac:chgData name="Christopher Weaver" userId="2d47d5c7-389a-4b91-8fc5-dfad12ad20c7" providerId="ADAL" clId="{D16AF3FA-45AE-48D8-9E49-416D77F43661}" dt="2019-05-03T18:13:05.252" v="311" actId="14100"/>
          <ac:picMkLst>
            <pc:docMk/>
            <pc:sldMk cId="3980266769" sldId="381"/>
            <ac:picMk id="6" creationId="{BA860A3D-5660-4B8C-8C1F-67866ABC39F7}"/>
          </ac:picMkLst>
        </pc:picChg>
      </pc:sldChg>
      <pc:sldChg chg="modSp">
        <pc:chgData name="Christopher Weaver" userId="2d47d5c7-389a-4b91-8fc5-dfad12ad20c7" providerId="ADAL" clId="{D16AF3FA-45AE-48D8-9E49-416D77F43661}" dt="2019-05-03T18:21:34.472" v="434" actId="255"/>
        <pc:sldMkLst>
          <pc:docMk/>
          <pc:sldMk cId="616292797" sldId="406"/>
        </pc:sldMkLst>
        <pc:spChg chg="mod">
          <ac:chgData name="Christopher Weaver" userId="2d47d5c7-389a-4b91-8fc5-dfad12ad20c7" providerId="ADAL" clId="{D16AF3FA-45AE-48D8-9E49-416D77F43661}" dt="2019-05-03T18:21:34.472" v="434" actId="255"/>
          <ac:spMkLst>
            <pc:docMk/>
            <pc:sldMk cId="616292797" sldId="406"/>
            <ac:spMk id="2" creationId="{00000000-0000-0000-0000-000000000000}"/>
          </ac:spMkLst>
        </pc:spChg>
      </pc:sldChg>
      <pc:sldChg chg="modSp">
        <pc:chgData name="Christopher Weaver" userId="2d47d5c7-389a-4b91-8fc5-dfad12ad20c7" providerId="ADAL" clId="{D16AF3FA-45AE-48D8-9E49-416D77F43661}" dt="2019-05-08T14:52:50.295" v="712" actId="20577"/>
        <pc:sldMkLst>
          <pc:docMk/>
          <pc:sldMk cId="2399203213" sldId="408"/>
        </pc:sldMkLst>
        <pc:spChg chg="mod">
          <ac:chgData name="Christopher Weaver" userId="2d47d5c7-389a-4b91-8fc5-dfad12ad20c7" providerId="ADAL" clId="{D16AF3FA-45AE-48D8-9E49-416D77F43661}" dt="2019-05-08T14:52:50.295" v="712" actId="20577"/>
          <ac:spMkLst>
            <pc:docMk/>
            <pc:sldMk cId="2399203213" sldId="408"/>
            <ac:spMk id="2" creationId="{5338C6D7-95C5-409E-9F00-EA69F550067E}"/>
          </ac:spMkLst>
        </pc:spChg>
        <pc:spChg chg="mod">
          <ac:chgData name="Christopher Weaver" userId="2d47d5c7-389a-4b91-8fc5-dfad12ad20c7" providerId="ADAL" clId="{D16AF3FA-45AE-48D8-9E49-416D77F43661}" dt="2019-05-08T14:42:31.575" v="694" actId="20577"/>
          <ac:spMkLst>
            <pc:docMk/>
            <pc:sldMk cId="2399203213" sldId="408"/>
            <ac:spMk id="3" creationId="{00000000-0000-0000-0000-000000000000}"/>
          </ac:spMkLst>
        </pc:spChg>
      </pc:sldChg>
      <pc:sldChg chg="modSp">
        <pc:chgData name="Christopher Weaver" userId="2d47d5c7-389a-4b91-8fc5-dfad12ad20c7" providerId="ADAL" clId="{D16AF3FA-45AE-48D8-9E49-416D77F43661}" dt="2019-05-03T18:19:04.405" v="406" actId="14"/>
        <pc:sldMkLst>
          <pc:docMk/>
          <pc:sldMk cId="6914788" sldId="418"/>
        </pc:sldMkLst>
        <pc:spChg chg="mod">
          <ac:chgData name="Christopher Weaver" userId="2d47d5c7-389a-4b91-8fc5-dfad12ad20c7" providerId="ADAL" clId="{D16AF3FA-45AE-48D8-9E49-416D77F43661}" dt="2019-05-03T18:19:04.405" v="406" actId="14"/>
          <ac:spMkLst>
            <pc:docMk/>
            <pc:sldMk cId="6914788" sldId="418"/>
            <ac:spMk id="2" creationId="{C8D1F36B-668C-425E-9C99-F45BD1518015}"/>
          </ac:spMkLst>
        </pc:spChg>
        <pc:spChg chg="mod">
          <ac:chgData name="Christopher Weaver" userId="2d47d5c7-389a-4b91-8fc5-dfad12ad20c7" providerId="ADAL" clId="{D16AF3FA-45AE-48D8-9E49-416D77F43661}" dt="2019-05-03T18:18:55.585" v="404" actId="20577"/>
          <ac:spMkLst>
            <pc:docMk/>
            <pc:sldMk cId="6914788" sldId="418"/>
            <ac:spMk id="3" creationId="{00000000-0000-0000-0000-000000000000}"/>
          </ac:spMkLst>
        </pc:spChg>
      </pc:sldChg>
      <pc:sldChg chg="modSp ord">
        <pc:chgData name="Christopher Weaver" userId="2d47d5c7-389a-4b91-8fc5-dfad12ad20c7" providerId="ADAL" clId="{D16AF3FA-45AE-48D8-9E49-416D77F43661}" dt="2019-05-03T18:17:20.682" v="383" actId="6549"/>
        <pc:sldMkLst>
          <pc:docMk/>
          <pc:sldMk cId="369063657" sldId="422"/>
        </pc:sldMkLst>
        <pc:spChg chg="mod">
          <ac:chgData name="Christopher Weaver" userId="2d47d5c7-389a-4b91-8fc5-dfad12ad20c7" providerId="ADAL" clId="{D16AF3FA-45AE-48D8-9E49-416D77F43661}" dt="2019-05-03T18:17:20.682" v="383" actId="6549"/>
          <ac:spMkLst>
            <pc:docMk/>
            <pc:sldMk cId="369063657" sldId="422"/>
            <ac:spMk id="3" creationId="{A01C5015-850D-4AB4-BBC4-5CD47E1DB9FE}"/>
          </ac:spMkLst>
        </pc:spChg>
      </pc:sldChg>
      <pc:sldChg chg="modSp del ord modTransition">
        <pc:chgData name="Christopher Weaver" userId="2d47d5c7-389a-4b91-8fc5-dfad12ad20c7" providerId="ADAL" clId="{D16AF3FA-45AE-48D8-9E49-416D77F43661}" dt="2019-05-08T14:51:34.560" v="698" actId="2696"/>
        <pc:sldMkLst>
          <pc:docMk/>
          <pc:sldMk cId="1323131104" sldId="423"/>
        </pc:sldMkLst>
        <pc:spChg chg="mod">
          <ac:chgData name="Christopher Weaver" userId="2d47d5c7-389a-4b91-8fc5-dfad12ad20c7" providerId="ADAL" clId="{D16AF3FA-45AE-48D8-9E49-416D77F43661}" dt="2019-05-04T03:05:06.181" v="482" actId="20577"/>
          <ac:spMkLst>
            <pc:docMk/>
            <pc:sldMk cId="1323131104" sldId="423"/>
            <ac:spMk id="2" creationId="{00000000-0000-0000-0000-000000000000}"/>
          </ac:spMkLst>
        </pc:spChg>
        <pc:spChg chg="mod">
          <ac:chgData name="Christopher Weaver" userId="2d47d5c7-389a-4b91-8fc5-dfad12ad20c7" providerId="ADAL" clId="{D16AF3FA-45AE-48D8-9E49-416D77F43661}" dt="2019-05-04T03:06:29.510" v="647" actId="20577"/>
          <ac:spMkLst>
            <pc:docMk/>
            <pc:sldMk cId="1323131104" sldId="423"/>
            <ac:spMk id="4" creationId="{00000000-0000-0000-0000-000000000000}"/>
          </ac:spMkLst>
        </pc:spChg>
      </pc:sldChg>
      <pc:sldChg chg="modTransition">
        <pc:chgData name="Christopher Weaver" userId="2d47d5c7-389a-4b91-8fc5-dfad12ad20c7" providerId="ADAL" clId="{D16AF3FA-45AE-48D8-9E49-416D77F43661}" dt="2019-04-30T18:32:43.522" v="0"/>
        <pc:sldMkLst>
          <pc:docMk/>
          <pc:sldMk cId="2817666680" sldId="425"/>
        </pc:sldMkLst>
      </pc:sldChg>
      <pc:sldChg chg="modSp modAnim">
        <pc:chgData name="Christopher Weaver" userId="2d47d5c7-389a-4b91-8fc5-dfad12ad20c7" providerId="ADAL" clId="{D16AF3FA-45AE-48D8-9E49-416D77F43661}" dt="2019-05-03T18:14:26.085" v="312" actId="313"/>
        <pc:sldMkLst>
          <pc:docMk/>
          <pc:sldMk cId="3486571688" sldId="426"/>
        </pc:sldMkLst>
        <pc:spChg chg="mod">
          <ac:chgData name="Christopher Weaver" userId="2d47d5c7-389a-4b91-8fc5-dfad12ad20c7" providerId="ADAL" clId="{D16AF3FA-45AE-48D8-9E49-416D77F43661}" dt="2019-05-03T18:14:26.085" v="312" actId="313"/>
          <ac:spMkLst>
            <pc:docMk/>
            <pc:sldMk cId="3486571688" sldId="426"/>
            <ac:spMk id="2" creationId="{9010681A-0D45-41F6-BE85-00C7915E7027}"/>
          </ac:spMkLst>
        </pc:spChg>
      </pc:sldChg>
      <pc:sldChg chg="modSp">
        <pc:chgData name="Christopher Weaver" userId="2d47d5c7-389a-4b91-8fc5-dfad12ad20c7" providerId="ADAL" clId="{D16AF3FA-45AE-48D8-9E49-416D77F43661}" dt="2019-05-08T14:53:03.189" v="726" actId="20577"/>
        <pc:sldMkLst>
          <pc:docMk/>
          <pc:sldMk cId="2004653973" sldId="427"/>
        </pc:sldMkLst>
        <pc:spChg chg="mod">
          <ac:chgData name="Christopher Weaver" userId="2d47d5c7-389a-4b91-8fc5-dfad12ad20c7" providerId="ADAL" clId="{D16AF3FA-45AE-48D8-9E49-416D77F43661}" dt="2019-05-08T14:53:03.189" v="726" actId="20577"/>
          <ac:spMkLst>
            <pc:docMk/>
            <pc:sldMk cId="2004653973" sldId="427"/>
            <ac:spMk id="2" creationId="{25598909-3B90-499E-8CA4-0A9CCE082183}"/>
          </ac:spMkLst>
        </pc:spChg>
      </pc:sldChg>
      <pc:sldChg chg="modSp del modTransition modNotesTx">
        <pc:chgData name="Christopher Weaver" userId="2d47d5c7-389a-4b91-8fc5-dfad12ad20c7" providerId="ADAL" clId="{D16AF3FA-45AE-48D8-9E49-416D77F43661}" dt="2019-05-08T14:37:30.274" v="657" actId="2696"/>
        <pc:sldMkLst>
          <pc:docMk/>
          <pc:sldMk cId="2258079420" sldId="1982"/>
        </pc:sldMkLst>
        <pc:spChg chg="mod">
          <ac:chgData name="Christopher Weaver" userId="2d47d5c7-389a-4b91-8fc5-dfad12ad20c7" providerId="ADAL" clId="{D16AF3FA-45AE-48D8-9E49-416D77F43661}" dt="2019-05-03T18:17:53.386" v="390" actId="20577"/>
          <ac:spMkLst>
            <pc:docMk/>
            <pc:sldMk cId="2258079420" sldId="1982"/>
            <ac:spMk id="2" creationId="{00000000-0000-0000-0000-000000000000}"/>
          </ac:spMkLst>
        </pc:spChg>
      </pc:sldChg>
      <pc:sldChg chg="addSp modSp add">
        <pc:chgData name="Christopher Weaver" userId="2d47d5c7-389a-4b91-8fc5-dfad12ad20c7" providerId="ADAL" clId="{D16AF3FA-45AE-48D8-9E49-416D77F43661}" dt="2019-05-03T18:04:07.911" v="117" actId="14100"/>
        <pc:sldMkLst>
          <pc:docMk/>
          <pc:sldMk cId="278901877" sldId="1983"/>
        </pc:sldMkLst>
        <pc:spChg chg="mod">
          <ac:chgData name="Christopher Weaver" userId="2d47d5c7-389a-4b91-8fc5-dfad12ad20c7" providerId="ADAL" clId="{D16AF3FA-45AE-48D8-9E49-416D77F43661}" dt="2019-04-30T19:04:30" v="50" actId="20577"/>
          <ac:spMkLst>
            <pc:docMk/>
            <pc:sldMk cId="278901877" sldId="1983"/>
            <ac:spMk id="2" creationId="{DF2AF14D-3921-4BE1-AE69-9F95C287E4D8}"/>
          </ac:spMkLst>
        </pc:spChg>
        <pc:spChg chg="mod">
          <ac:chgData name="Christopher Weaver" userId="2d47d5c7-389a-4b91-8fc5-dfad12ad20c7" providerId="ADAL" clId="{D16AF3FA-45AE-48D8-9E49-416D77F43661}" dt="2019-04-30T19:23:52.525" v="54" actId="14100"/>
          <ac:spMkLst>
            <pc:docMk/>
            <pc:sldMk cId="278901877" sldId="1983"/>
            <ac:spMk id="3" creationId="{3DC10D10-E8DD-447D-9E1B-B50109ECBD94}"/>
          </ac:spMkLst>
        </pc:spChg>
        <pc:picChg chg="add mod">
          <ac:chgData name="Christopher Weaver" userId="2d47d5c7-389a-4b91-8fc5-dfad12ad20c7" providerId="ADAL" clId="{D16AF3FA-45AE-48D8-9E49-416D77F43661}" dt="2019-05-03T18:04:07.911" v="117" actId="14100"/>
          <ac:picMkLst>
            <pc:docMk/>
            <pc:sldMk cId="278901877" sldId="1983"/>
            <ac:picMk id="4" creationId="{E1C51160-1465-46DC-9301-9D5B55CA1644}"/>
          </ac:picMkLst>
        </pc:picChg>
      </pc:sldChg>
      <pc:sldChg chg="modSp">
        <pc:chgData name="Christopher Weaver" userId="2d47d5c7-389a-4b91-8fc5-dfad12ad20c7" providerId="ADAL" clId="{D16AF3FA-45AE-48D8-9E49-416D77F43661}" dt="2019-05-07T18:17:30.430" v="656" actId="1076"/>
        <pc:sldMkLst>
          <pc:docMk/>
          <pc:sldMk cId="2586618861" sldId="1984"/>
        </pc:sldMkLst>
        <pc:spChg chg="mod">
          <ac:chgData name="Christopher Weaver" userId="2d47d5c7-389a-4b91-8fc5-dfad12ad20c7" providerId="ADAL" clId="{D16AF3FA-45AE-48D8-9E49-416D77F43661}" dt="2019-05-07T18:17:30.430" v="656" actId="1076"/>
          <ac:spMkLst>
            <pc:docMk/>
            <pc:sldMk cId="2586618861" sldId="1984"/>
            <ac:spMk id="4" creationId="{00000000-0000-0000-0000-000000000000}"/>
          </ac:spMkLst>
        </pc:spChg>
      </pc:sldChg>
    </pc:docChg>
  </pc:docChgLst>
  <pc:docChgLst>
    <pc:chgData name="Guest User" providerId="Windows Live" clId="Web-{3F6EF95D-53AE-4F41-92BB-8089733D7484}"/>
    <pc:docChg chg="delSld modSection">
      <pc:chgData name="Guest User" userId="" providerId="Windows Live" clId="Web-{3F6EF95D-53AE-4F41-92BB-8089733D7484}" dt="2020-08-24T23:46:03.955" v="0"/>
      <pc:docMkLst>
        <pc:docMk/>
      </pc:docMkLst>
      <pc:sldChg chg="del">
        <pc:chgData name="Guest User" userId="" providerId="Windows Live" clId="Web-{3F6EF95D-53AE-4F41-92BB-8089733D7484}" dt="2020-08-24T23:46:03.955" v="0"/>
        <pc:sldMkLst>
          <pc:docMk/>
          <pc:sldMk cId="404508634" sldId="1998"/>
        </pc:sldMkLst>
      </pc:sldChg>
    </pc:docChg>
  </pc:docChgLst>
  <pc:docChgLst>
    <pc:chgData name="Christopher Weaver" userId="2d47d5c7-389a-4b91-8fc5-dfad12ad20c7" providerId="ADAL" clId="{4194515C-FA43-48D0-B5C4-E813FE67077E}"/>
    <pc:docChg chg="modSld">
      <pc:chgData name="Christopher Weaver" userId="2d47d5c7-389a-4b91-8fc5-dfad12ad20c7" providerId="ADAL" clId="{4194515C-FA43-48D0-B5C4-E813FE67077E}" dt="2020-02-25T20:44:34.783" v="23" actId="20577"/>
      <pc:docMkLst>
        <pc:docMk/>
      </pc:docMkLst>
      <pc:sldChg chg="modSp">
        <pc:chgData name="Christopher Weaver" userId="2d47d5c7-389a-4b91-8fc5-dfad12ad20c7" providerId="ADAL" clId="{4194515C-FA43-48D0-B5C4-E813FE67077E}" dt="2020-02-25T20:44:34.783" v="23" actId="20577"/>
        <pc:sldMkLst>
          <pc:docMk/>
          <pc:sldMk cId="616292797" sldId="406"/>
        </pc:sldMkLst>
        <pc:spChg chg="mod">
          <ac:chgData name="Christopher Weaver" userId="2d47d5c7-389a-4b91-8fc5-dfad12ad20c7" providerId="ADAL" clId="{4194515C-FA43-48D0-B5C4-E813FE67077E}" dt="2020-02-25T20:44:34.783" v="23" actId="20577"/>
          <ac:spMkLst>
            <pc:docMk/>
            <pc:sldMk cId="616292797" sldId="406"/>
            <ac:spMk id="2" creationId="{00000000-0000-0000-0000-000000000000}"/>
          </ac:spMkLst>
        </pc:spChg>
      </pc:sldChg>
    </pc:docChg>
  </pc:docChgLst>
  <pc:docChgLst>
    <pc:chgData name="Christopher Weaver" userId="2d47d5c7-389a-4b91-8fc5-dfad12ad20c7" providerId="ADAL" clId="{9377C934-A5BC-4FD6-B4D9-F9AFB681E7EE}"/>
    <pc:docChg chg="undo custSel addSld delSld modSection">
      <pc:chgData name="Christopher Weaver" userId="2d47d5c7-389a-4b91-8fc5-dfad12ad20c7" providerId="ADAL" clId="{9377C934-A5BC-4FD6-B4D9-F9AFB681E7EE}" dt="2020-07-31T19:32:38.224" v="12" actId="2696"/>
      <pc:docMkLst>
        <pc:docMk/>
      </pc:docMkLst>
      <pc:sldChg chg="add del">
        <pc:chgData name="Christopher Weaver" userId="2d47d5c7-389a-4b91-8fc5-dfad12ad20c7" providerId="ADAL" clId="{9377C934-A5BC-4FD6-B4D9-F9AFB681E7EE}" dt="2020-07-31T19:32:25.501" v="11" actId="2696"/>
        <pc:sldMkLst>
          <pc:docMk/>
          <pc:sldMk cId="2744750839" sldId="365"/>
        </pc:sldMkLst>
      </pc:sldChg>
      <pc:sldChg chg="add del">
        <pc:chgData name="Christopher Weaver" userId="2d47d5c7-389a-4b91-8fc5-dfad12ad20c7" providerId="ADAL" clId="{9377C934-A5BC-4FD6-B4D9-F9AFB681E7EE}" dt="2020-07-31T19:32:38.224" v="12" actId="2696"/>
        <pc:sldMkLst>
          <pc:docMk/>
          <pc:sldMk cId="3980266769" sldId="381"/>
        </pc:sldMkLst>
      </pc:sldChg>
      <pc:sldChg chg="del">
        <pc:chgData name="Christopher Weaver" userId="2d47d5c7-389a-4b91-8fc5-dfad12ad20c7" providerId="ADAL" clId="{9377C934-A5BC-4FD6-B4D9-F9AFB681E7EE}" dt="2020-07-31T19:22:03.545" v="0" actId="2696"/>
        <pc:sldMkLst>
          <pc:docMk/>
          <pc:sldMk cId="3734349781" sldId="414"/>
        </pc:sldMkLst>
      </pc:sldChg>
      <pc:sldChg chg="add del">
        <pc:chgData name="Christopher Weaver" userId="2d47d5c7-389a-4b91-8fc5-dfad12ad20c7" providerId="ADAL" clId="{9377C934-A5BC-4FD6-B4D9-F9AFB681E7EE}" dt="2020-07-31T19:31:57.209" v="9" actId="2696"/>
        <pc:sldMkLst>
          <pc:docMk/>
          <pc:sldMk cId="369063657" sldId="422"/>
        </pc:sldMkLst>
      </pc:sldChg>
      <pc:sldChg chg="add del">
        <pc:chgData name="Christopher Weaver" userId="2d47d5c7-389a-4b91-8fc5-dfad12ad20c7" providerId="ADAL" clId="{9377C934-A5BC-4FD6-B4D9-F9AFB681E7EE}" dt="2020-07-31T19:32:04.731" v="10" actId="2696"/>
        <pc:sldMkLst>
          <pc:docMk/>
          <pc:sldMk cId="278901877" sldId="1983"/>
        </pc:sldMkLst>
      </pc:sldChg>
    </pc:docChg>
  </pc:docChgLst>
  <pc:docChgLst>
    <pc:chgData name="Ki'Yona McClary" userId="S::kmcclary@microsoft.com::492bc8e0-e31d-42f8-9b7a-81eef03d1dc4" providerId="AD" clId="Web-{6AB51199-7796-5ABE-6D02-6360D6D2B156}"/>
    <pc:docChg chg="modSld">
      <pc:chgData name="Ki'Yona McClary" userId="S::kmcclary@microsoft.com::492bc8e0-e31d-42f8-9b7a-81eef03d1dc4" providerId="AD" clId="Web-{6AB51199-7796-5ABE-6D02-6360D6D2B156}" dt="2021-03-04T17:52:53.785" v="30" actId="20577"/>
      <pc:docMkLst>
        <pc:docMk/>
      </pc:docMkLst>
      <pc:sldChg chg="modSp">
        <pc:chgData name="Ki'Yona McClary" userId="S::kmcclary@microsoft.com::492bc8e0-e31d-42f8-9b7a-81eef03d1dc4" providerId="AD" clId="Web-{6AB51199-7796-5ABE-6D02-6360D6D2B156}" dt="2021-03-04T17:52:53.785" v="30" actId="20577"/>
        <pc:sldMkLst>
          <pc:docMk/>
          <pc:sldMk cId="1875027611" sldId="1985"/>
        </pc:sldMkLst>
        <pc:spChg chg="mod">
          <ac:chgData name="Ki'Yona McClary" userId="S::kmcclary@microsoft.com::492bc8e0-e31d-42f8-9b7a-81eef03d1dc4" providerId="AD" clId="Web-{6AB51199-7796-5ABE-6D02-6360D6D2B156}" dt="2021-03-04T17:52:53.785" v="30" actId="20577"/>
          <ac:spMkLst>
            <pc:docMk/>
            <pc:sldMk cId="1875027611" sldId="1985"/>
            <ac:spMk id="5" creationId="{920DB69D-009B-419C-9C46-0C582BAEAD46}"/>
          </ac:spMkLst>
        </pc:spChg>
      </pc:sldChg>
      <pc:sldChg chg="modSp">
        <pc:chgData name="Ki'Yona McClary" userId="S::kmcclary@microsoft.com::492bc8e0-e31d-42f8-9b7a-81eef03d1dc4" providerId="AD" clId="Web-{6AB51199-7796-5ABE-6D02-6360D6D2B156}" dt="2021-03-04T17:52:41.707" v="28" actId="20577"/>
        <pc:sldMkLst>
          <pc:docMk/>
          <pc:sldMk cId="1674848170" sldId="1990"/>
        </pc:sldMkLst>
        <pc:spChg chg="mod">
          <ac:chgData name="Ki'Yona McClary" userId="S::kmcclary@microsoft.com::492bc8e0-e31d-42f8-9b7a-81eef03d1dc4" providerId="AD" clId="Web-{6AB51199-7796-5ABE-6D02-6360D6D2B156}" dt="2021-03-04T17:52:41.707" v="28" actId="20577"/>
          <ac:spMkLst>
            <pc:docMk/>
            <pc:sldMk cId="1674848170" sldId="1990"/>
            <ac:spMk id="3" creationId="{00000000-0000-0000-0000-000000000000}"/>
          </ac:spMkLst>
        </pc:spChg>
      </pc:sldChg>
      <pc:sldChg chg="modSp">
        <pc:chgData name="Ki'Yona McClary" userId="S::kmcclary@microsoft.com::492bc8e0-e31d-42f8-9b7a-81eef03d1dc4" providerId="AD" clId="Web-{6AB51199-7796-5ABE-6D02-6360D6D2B156}" dt="2021-03-04T17:52:27.238" v="25" actId="20577"/>
        <pc:sldMkLst>
          <pc:docMk/>
          <pc:sldMk cId="3851442531" sldId="1991"/>
        </pc:sldMkLst>
        <pc:spChg chg="mod">
          <ac:chgData name="Ki'Yona McClary" userId="S::kmcclary@microsoft.com::492bc8e0-e31d-42f8-9b7a-81eef03d1dc4" providerId="AD" clId="Web-{6AB51199-7796-5ABE-6D02-6360D6D2B156}" dt="2021-03-04T17:52:27.238" v="25" actId="20577"/>
          <ac:spMkLst>
            <pc:docMk/>
            <pc:sldMk cId="3851442531" sldId="1991"/>
            <ac:spMk id="3" creationId="{3DC10D10-E8DD-447D-9E1B-B50109ECBD94}"/>
          </ac:spMkLst>
        </pc:spChg>
      </pc:sldChg>
    </pc:docChg>
  </pc:docChgLst>
  <pc:docChgLst>
    <pc:chgData name="Ethan Irons" userId="S::etirons@microsoft.com::6f6e2f01-ea19-4a4a-bc47-1e970a349fc0" providerId="AD" clId="Web-{521D4E2B-9BBC-6921-8035-23394075519D}"/>
    <pc:docChg chg="addSld sldOrd modSection">
      <pc:chgData name="Ethan Irons" userId="S::etirons@microsoft.com::6f6e2f01-ea19-4a4a-bc47-1e970a349fc0" providerId="AD" clId="Web-{521D4E2B-9BBC-6921-8035-23394075519D}" dt="2022-08-12T15:35:06.357" v="1"/>
      <pc:docMkLst>
        <pc:docMk/>
      </pc:docMkLst>
      <pc:sldChg chg="add ord">
        <pc:chgData name="Ethan Irons" userId="S::etirons@microsoft.com::6f6e2f01-ea19-4a4a-bc47-1e970a349fc0" providerId="AD" clId="Web-{521D4E2B-9BBC-6921-8035-23394075519D}" dt="2022-08-12T15:35:06.357" v="1"/>
        <pc:sldMkLst>
          <pc:docMk/>
          <pc:sldMk cId="2558430873" sldId="1999"/>
        </pc:sldMkLst>
      </pc:sldChg>
      <pc:sldMasterChg chg="addSldLayout">
        <pc:chgData name="Ethan Irons" userId="S::etirons@microsoft.com::6f6e2f01-ea19-4a4a-bc47-1e970a349fc0" providerId="AD" clId="Web-{521D4E2B-9BBC-6921-8035-23394075519D}" dt="2022-08-12T15:34:58.997" v="0"/>
        <pc:sldMasterMkLst>
          <pc:docMk/>
          <pc:sldMasterMk cId="1150004912" sldId="2147484275"/>
        </pc:sldMasterMkLst>
        <pc:sldLayoutChg chg="add">
          <pc:chgData name="Ethan Irons" userId="S::etirons@microsoft.com::6f6e2f01-ea19-4a4a-bc47-1e970a349fc0" providerId="AD" clId="Web-{521D4E2B-9BBC-6921-8035-23394075519D}" dt="2022-08-12T15:34:58.997" v="0"/>
          <pc:sldLayoutMkLst>
            <pc:docMk/>
            <pc:sldMasterMk cId="1150004912" sldId="2147484275"/>
            <pc:sldLayoutMk cId="719090767" sldId="2147484340"/>
          </pc:sldLayoutMkLst>
        </pc:sldLayoutChg>
      </pc:sldMasterChg>
    </pc:docChg>
  </pc:docChgLst>
  <pc:docChgLst>
    <pc:chgData name="Christopher Weaver" userId="2d47d5c7-389a-4b91-8fc5-dfad12ad20c7" providerId="ADAL" clId="{A3ADEFD8-AD10-497A-ACFA-ED285C8BEF66}"/>
    <pc:docChg chg="modSld">
      <pc:chgData name="Christopher Weaver" userId="2d47d5c7-389a-4b91-8fc5-dfad12ad20c7" providerId="ADAL" clId="{A3ADEFD8-AD10-497A-ACFA-ED285C8BEF66}" dt="2021-06-10T20:28:23.777" v="305" actId="20577"/>
      <pc:docMkLst>
        <pc:docMk/>
      </pc:docMkLst>
      <pc:sldChg chg="modSp mod">
        <pc:chgData name="Christopher Weaver" userId="2d47d5c7-389a-4b91-8fc5-dfad12ad20c7" providerId="ADAL" clId="{A3ADEFD8-AD10-497A-ACFA-ED285C8BEF66}" dt="2021-06-10T20:05:14.894" v="19" actId="20577"/>
        <pc:sldMkLst>
          <pc:docMk/>
          <pc:sldMk cId="6914788" sldId="418"/>
        </pc:sldMkLst>
        <pc:spChg chg="mod">
          <ac:chgData name="Christopher Weaver" userId="2d47d5c7-389a-4b91-8fc5-dfad12ad20c7" providerId="ADAL" clId="{A3ADEFD8-AD10-497A-ACFA-ED285C8BEF66}" dt="2021-06-10T20:05:14.894" v="19" actId="20577"/>
          <ac:spMkLst>
            <pc:docMk/>
            <pc:sldMk cId="6914788" sldId="418"/>
            <ac:spMk id="2" creationId="{C8D1F36B-668C-425E-9C99-F45BD1518015}"/>
          </ac:spMkLst>
        </pc:spChg>
      </pc:sldChg>
      <pc:sldChg chg="modSp mod modNotesTx">
        <pc:chgData name="Christopher Weaver" userId="2d47d5c7-389a-4b91-8fc5-dfad12ad20c7" providerId="ADAL" clId="{A3ADEFD8-AD10-497A-ACFA-ED285C8BEF66}" dt="2021-06-10T20:01:56.815" v="7" actId="20577"/>
        <pc:sldMkLst>
          <pc:docMk/>
          <pc:sldMk cId="2397058738" sldId="1987"/>
        </pc:sldMkLst>
        <pc:spChg chg="mod">
          <ac:chgData name="Christopher Weaver" userId="2d47d5c7-389a-4b91-8fc5-dfad12ad20c7" providerId="ADAL" clId="{A3ADEFD8-AD10-497A-ACFA-ED285C8BEF66}" dt="2021-06-10T20:01:49.887" v="1" actId="20577"/>
          <ac:spMkLst>
            <pc:docMk/>
            <pc:sldMk cId="2397058738" sldId="1987"/>
            <ac:spMk id="7" creationId="{084F0EE3-70B5-4533-A0A3-C9B4AA06EF1C}"/>
          </ac:spMkLst>
        </pc:spChg>
      </pc:sldChg>
      <pc:sldChg chg="modSp mod modNotesTx">
        <pc:chgData name="Christopher Weaver" userId="2d47d5c7-389a-4b91-8fc5-dfad12ad20c7" providerId="ADAL" clId="{A3ADEFD8-AD10-497A-ACFA-ED285C8BEF66}" dt="2021-06-10T20:06:29.244" v="123" actId="20577"/>
        <pc:sldMkLst>
          <pc:docMk/>
          <pc:sldMk cId="3711151781" sldId="1988"/>
        </pc:sldMkLst>
        <pc:spChg chg="mod">
          <ac:chgData name="Christopher Weaver" userId="2d47d5c7-389a-4b91-8fc5-dfad12ad20c7" providerId="ADAL" clId="{A3ADEFD8-AD10-497A-ACFA-ED285C8BEF66}" dt="2021-06-10T20:06:05.355" v="54" actId="20577"/>
          <ac:spMkLst>
            <pc:docMk/>
            <pc:sldMk cId="3711151781" sldId="1988"/>
            <ac:spMk id="3" creationId="{A01C5015-850D-4AB4-BBC4-5CD47E1DB9FE}"/>
          </ac:spMkLst>
        </pc:spChg>
      </pc:sldChg>
      <pc:sldChg chg="modSp mod modNotesTx">
        <pc:chgData name="Christopher Weaver" userId="2d47d5c7-389a-4b91-8fc5-dfad12ad20c7" providerId="ADAL" clId="{A3ADEFD8-AD10-497A-ACFA-ED285C8BEF66}" dt="2021-06-10T20:28:23.777" v="305" actId="20577"/>
        <pc:sldMkLst>
          <pc:docMk/>
          <pc:sldMk cId="1674848170" sldId="1990"/>
        </pc:sldMkLst>
        <pc:spChg chg="mod">
          <ac:chgData name="Christopher Weaver" userId="2d47d5c7-389a-4b91-8fc5-dfad12ad20c7" providerId="ADAL" clId="{A3ADEFD8-AD10-497A-ACFA-ED285C8BEF66}" dt="2021-06-10T20:25:07.071" v="162" actId="20577"/>
          <ac:spMkLst>
            <pc:docMk/>
            <pc:sldMk cId="1674848170" sldId="1990"/>
            <ac:spMk id="3" creationId="{00000000-0000-0000-0000-000000000000}"/>
          </ac:spMkLst>
        </pc:spChg>
      </pc:sldChg>
      <pc:sldChg chg="modNotesTx">
        <pc:chgData name="Christopher Weaver" userId="2d47d5c7-389a-4b91-8fc5-dfad12ad20c7" providerId="ADAL" clId="{A3ADEFD8-AD10-497A-ACFA-ED285C8BEF66}" dt="2021-06-10T20:09:04.252" v="124"/>
        <pc:sldMkLst>
          <pc:docMk/>
          <pc:sldMk cId="3851442531" sldId="1991"/>
        </pc:sldMkLst>
      </pc:sldChg>
    </pc:docChg>
  </pc:docChgLst>
  <pc:docChgLst>
    <pc:chgData name="Jeffrey Sonola" userId="S::jsonola@microsoft.com::cd9df610-0224-4b3f-8054-17d9a3117f3f" providerId="AD" clId="Web-{4B50BD18-74F8-6E3D-0EE1-CA6AA9D90433}"/>
    <pc:docChg chg="modSld">
      <pc:chgData name="Jeffrey Sonola" userId="S::jsonola@microsoft.com::cd9df610-0224-4b3f-8054-17d9a3117f3f" providerId="AD" clId="Web-{4B50BD18-74F8-6E3D-0EE1-CA6AA9D90433}" dt="2021-09-23T02:14:41.403" v="46"/>
      <pc:docMkLst>
        <pc:docMk/>
      </pc:docMkLst>
      <pc:sldChg chg="addSp modSp modNotes">
        <pc:chgData name="Jeffrey Sonola" userId="S::jsonola@microsoft.com::cd9df610-0224-4b3f-8054-17d9a3117f3f" providerId="AD" clId="Web-{4B50BD18-74F8-6E3D-0EE1-CA6AA9D90433}" dt="2021-09-23T02:14:41.403" v="46"/>
        <pc:sldMkLst>
          <pc:docMk/>
          <pc:sldMk cId="39528547" sldId="1998"/>
        </pc:sldMkLst>
        <pc:spChg chg="mod">
          <ac:chgData name="Jeffrey Sonola" userId="S::jsonola@microsoft.com::cd9df610-0224-4b3f-8054-17d9a3117f3f" providerId="AD" clId="Web-{4B50BD18-74F8-6E3D-0EE1-CA6AA9D90433}" dt="2021-09-23T02:12:40.755" v="27" actId="1076"/>
          <ac:spMkLst>
            <pc:docMk/>
            <pc:sldMk cId="39528547" sldId="1998"/>
            <ac:spMk id="2" creationId="{C0A74B92-848E-480F-8384-79A57D71BCD8}"/>
          </ac:spMkLst>
        </pc:spChg>
        <pc:spChg chg="mod">
          <ac:chgData name="Jeffrey Sonola" userId="S::jsonola@microsoft.com::cd9df610-0224-4b3f-8054-17d9a3117f3f" providerId="AD" clId="Web-{4B50BD18-74F8-6E3D-0EE1-CA6AA9D90433}" dt="2021-09-23T02:12:45.755" v="28" actId="1076"/>
          <ac:spMkLst>
            <pc:docMk/>
            <pc:sldMk cId="39528547" sldId="1998"/>
            <ac:spMk id="3" creationId="{B8F46143-5C89-4244-BF92-8DBFC15A92D5}"/>
          </ac:spMkLst>
        </pc:spChg>
        <pc:spChg chg="add mod">
          <ac:chgData name="Jeffrey Sonola" userId="S::jsonola@microsoft.com::cd9df610-0224-4b3f-8054-17d9a3117f3f" providerId="AD" clId="Web-{4B50BD18-74F8-6E3D-0EE1-CA6AA9D90433}" dt="2021-09-23T02:13:42.305" v="37" actId="14100"/>
          <ac:spMkLst>
            <pc:docMk/>
            <pc:sldMk cId="39528547" sldId="1998"/>
            <ac:spMk id="5" creationId="{31269B71-C73C-4E86-95BF-7554DAFC4236}"/>
          </ac:spMkLst>
        </pc:spChg>
        <pc:picChg chg="add mod">
          <ac:chgData name="Jeffrey Sonola" userId="S::jsonola@microsoft.com::cd9df610-0224-4b3f-8054-17d9a3117f3f" providerId="AD" clId="Web-{4B50BD18-74F8-6E3D-0EE1-CA6AA9D90433}" dt="2021-09-23T02:13:47.790" v="38" actId="1076"/>
          <ac:picMkLst>
            <pc:docMk/>
            <pc:sldMk cId="39528547" sldId="1998"/>
            <ac:picMk id="4" creationId="{70863F81-7F42-4F16-8AA0-418FA697D174}"/>
          </ac:picMkLst>
        </pc:picChg>
      </pc:sldChg>
    </pc:docChg>
  </pc:docChgLst>
  <pc:docChgLst>
    <pc:chgData name="Rishabh Mathur" userId="085a90ad-ff62-452d-9cc6-fb668aecc57d" providerId="ADAL" clId="{D7BEC542-4AFA-495D-81F9-A79EA35BEB25}"/>
    <pc:docChg chg="modSld">
      <pc:chgData name="Rishabh Mathur" userId="085a90ad-ff62-452d-9cc6-fb668aecc57d" providerId="ADAL" clId="{D7BEC542-4AFA-495D-81F9-A79EA35BEB25}" dt="2020-03-03T03:10:44.153" v="2" actId="255"/>
      <pc:docMkLst>
        <pc:docMk/>
      </pc:docMkLst>
      <pc:sldChg chg="modSp mod">
        <pc:chgData name="Rishabh Mathur" userId="085a90ad-ff62-452d-9cc6-fb668aecc57d" providerId="ADAL" clId="{D7BEC542-4AFA-495D-81F9-A79EA35BEB25}" dt="2020-03-03T03:10:44.153" v="2" actId="255"/>
        <pc:sldMkLst>
          <pc:docMk/>
          <pc:sldMk cId="616292797" sldId="406"/>
        </pc:sldMkLst>
        <pc:spChg chg="mod">
          <ac:chgData name="Rishabh Mathur" userId="085a90ad-ff62-452d-9cc6-fb668aecc57d" providerId="ADAL" clId="{D7BEC542-4AFA-495D-81F9-A79EA35BEB25}" dt="2020-03-03T03:10:44.153" v="2" actId="255"/>
          <ac:spMkLst>
            <pc:docMk/>
            <pc:sldMk cId="616292797" sldId="406"/>
            <ac:spMk id="2" creationId="{00000000-0000-0000-0000-000000000000}"/>
          </ac:spMkLst>
        </pc:spChg>
      </pc:sldChg>
    </pc:docChg>
  </pc:docChgLst>
  <pc:docChgLst>
    <pc:chgData name="Christopher Weaver" userId="2d47d5c7-389a-4b91-8fc5-dfad12ad20c7" providerId="ADAL" clId="{80CC674D-3640-4E37-91CE-E2E28C4B6007}"/>
    <pc:docChg chg="">
      <pc:chgData name="Christopher Weaver" userId="2d47d5c7-389a-4b91-8fc5-dfad12ad20c7" providerId="ADAL" clId="{80CC674D-3640-4E37-91CE-E2E28C4B6007}" dt="2020-11-05T18:58:20.264" v="0"/>
      <pc:docMkLst>
        <pc:docMk/>
      </pc:docMkLst>
      <pc:sldChg chg="delCm">
        <pc:chgData name="Christopher Weaver" userId="2d47d5c7-389a-4b91-8fc5-dfad12ad20c7" providerId="ADAL" clId="{80CC674D-3640-4E37-91CE-E2E28C4B6007}" dt="2020-11-05T18:58:20.264" v="0"/>
        <pc:sldMkLst>
          <pc:docMk/>
          <pc:sldMk cId="3081173804" sldId="1986"/>
        </pc:sldMkLst>
      </pc:sldChg>
    </pc:docChg>
  </pc:docChgLst>
  <pc:docChgLst>
    <pc:chgData name="Asia Gandecka" userId="d4533edf-3129-4e97-a6db-54867d5d9a08" providerId="ADAL" clId="{97B22F15-A573-4416-BDEE-AEEB3E2C894E}"/>
    <pc:docChg chg="addSld modSld">
      <pc:chgData name="Asia Gandecka" userId="d4533edf-3129-4e97-a6db-54867d5d9a08" providerId="ADAL" clId="{97B22F15-A573-4416-BDEE-AEEB3E2C894E}" dt="2019-04-24T01:46:57.247" v="4"/>
      <pc:docMkLst>
        <pc:docMk/>
      </pc:docMkLst>
      <pc:sldChg chg="add">
        <pc:chgData name="Asia Gandecka" userId="d4533edf-3129-4e97-a6db-54867d5d9a08" providerId="ADAL" clId="{97B22F15-A573-4416-BDEE-AEEB3E2C894E}" dt="2019-04-24T01:46:43.883" v="0"/>
        <pc:sldMkLst>
          <pc:docMk/>
          <pc:sldMk cId="1900552605" sldId="424"/>
        </pc:sldMkLst>
      </pc:sldChg>
      <pc:sldChg chg="add">
        <pc:chgData name="Asia Gandecka" userId="d4533edf-3129-4e97-a6db-54867d5d9a08" providerId="ADAL" clId="{97B22F15-A573-4416-BDEE-AEEB3E2C894E}" dt="2019-04-24T01:46:45.902" v="1"/>
        <pc:sldMkLst>
          <pc:docMk/>
          <pc:sldMk cId="2817666680" sldId="425"/>
        </pc:sldMkLst>
      </pc:sldChg>
      <pc:sldChg chg="add">
        <pc:chgData name="Asia Gandecka" userId="d4533edf-3129-4e97-a6db-54867d5d9a08" providerId="ADAL" clId="{97B22F15-A573-4416-BDEE-AEEB3E2C894E}" dt="2019-04-24T01:46:52.269" v="2"/>
        <pc:sldMkLst>
          <pc:docMk/>
          <pc:sldMk cId="3486571688" sldId="426"/>
        </pc:sldMkLst>
      </pc:sldChg>
      <pc:sldChg chg="add">
        <pc:chgData name="Asia Gandecka" userId="d4533edf-3129-4e97-a6db-54867d5d9a08" providerId="ADAL" clId="{97B22F15-A573-4416-BDEE-AEEB3E2C894E}" dt="2019-04-24T01:46:54.708" v="3"/>
        <pc:sldMkLst>
          <pc:docMk/>
          <pc:sldMk cId="2004653973" sldId="427"/>
        </pc:sldMkLst>
      </pc:sldChg>
      <pc:sldChg chg="add">
        <pc:chgData name="Asia Gandecka" userId="d4533edf-3129-4e97-a6db-54867d5d9a08" providerId="ADAL" clId="{97B22F15-A573-4416-BDEE-AEEB3E2C894E}" dt="2019-04-24T01:46:57.247" v="4"/>
        <pc:sldMkLst>
          <pc:docMk/>
          <pc:sldMk cId="3995852369" sldId="428"/>
        </pc:sldMkLst>
      </pc:sldChg>
    </pc:docChg>
  </pc:docChgLst>
</pc:chgInfo>
</file>

<file path=ppt/comments/modernComment_7C1_6FC2A69B.xml><?xml version="1.0" encoding="utf-8"?>
<p188:cmLst xmlns:a="http://schemas.openxmlformats.org/drawingml/2006/main" xmlns:r="http://schemas.openxmlformats.org/officeDocument/2006/relationships" xmlns:p188="http://schemas.microsoft.com/office/powerpoint/2018/8/main">
  <p188:cm id="{A6CCDF22-91F7-477A-8AFC-A3F1A99EF4F4}" authorId="{2B5593C9-F2B6-30DD-4223-2A5BDAEF44D7}" created="2022-08-13T20:22:03.329">
    <pc:sldMkLst xmlns:pc="http://schemas.microsoft.com/office/powerpoint/2013/main/command">
      <pc:docMk/>
      <pc:sldMk cId="1875027611" sldId="1985"/>
    </pc:sldMkLst>
    <p188:txBody>
      <a:bodyPr/>
      <a:lstStyle/>
      <a:p>
        <a:r>
          <a:rPr lang="en-US"/>
          <a:t>Need an updated screenshot to show more templates (i.e. "Split-screen", etc.)</a:t>
        </a:r>
      </a:p>
    </p188:txBody>
  </p188:cm>
</p188:cmLst>
</file>

<file path=ppt/comments/modernComment_7C4_DD33AEA5.xml><?xml version="1.0" encoding="utf-8"?>
<p188:cmLst xmlns:a="http://schemas.openxmlformats.org/drawingml/2006/main" xmlns:r="http://schemas.openxmlformats.org/officeDocument/2006/relationships" xmlns:p188="http://schemas.microsoft.com/office/powerpoint/2018/8/main">
  <p188:cm id="{EF36A54D-2BCD-42E9-B947-DEF69717C4A9}" authorId="{2B5593C9-F2B6-30DD-4223-2A5BDAEF44D7}" created="2022-08-13T20:04:10.300">
    <pc:sldMkLst xmlns:pc="http://schemas.microsoft.com/office/powerpoint/2013/main/command">
      <pc:docMk/>
      <pc:sldMk cId="3711151781" sldId="1988"/>
    </pc:sldMkLst>
    <p188:txBody>
      <a:bodyPr/>
      <a:lstStyle/>
      <a:p>
        <a:r>
          <a:rPr lang="en-US"/>
          <a:t>"https//powerapps.microsoft.com" is the Commercial url, the correct url for DoD/IL5 is: "https://play.apps.appsplatform.u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5/2022 10: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5/2022 9:0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owerapps.microsoft.com/en-us/blog/new-screen-templat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powerapps.microsoft.com/en-us/pricing/?ef_id=c3e0c187a92317a3758ca1c6a515ad93:G:s&amp;OCID=AID2100430_SEM_c3e0c187a92317a3758ca1c6a515ad93:G:s&amp;msclkid=c3e0c187a92317a3758ca1c6a515ad93"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connectors/connector-referenc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9948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dirty="0"/>
          </a:p>
          <a:p>
            <a:r>
              <a:rPr lang="en-US" dirty="0"/>
              <a:t>Blank – Allows you to customize to look the way you want</a:t>
            </a:r>
          </a:p>
          <a:p>
            <a:r>
              <a:rPr lang="en-US" dirty="0"/>
              <a:t>Scrollable – Provides a scroll bar on the right side of the screen, so that you can move thru the controls in different sections</a:t>
            </a:r>
          </a:p>
          <a:p>
            <a:r>
              <a:rPr lang="en-US" dirty="0"/>
              <a:t>List – Behaves like a list view and allows for users to add some controls</a:t>
            </a:r>
          </a:p>
          <a:p>
            <a:r>
              <a:rPr lang="en-US" dirty="0"/>
              <a:t>Success - </a:t>
            </a:r>
            <a:r>
              <a:rPr lang="en-US" sz="900" b="0" i="0" kern="1200" dirty="0">
                <a:solidFill>
                  <a:schemeClr val="tx1"/>
                </a:solidFill>
                <a:effectLst/>
                <a:latin typeface="Segoe UI Light" pitchFamily="34" charset="0"/>
                <a:ea typeface="+mn-ea"/>
                <a:cs typeface="+mn-cs"/>
              </a:rPr>
              <a:t>This simple screen can be used anywhere you want to add confirmation for a user action. For example after submitting a form or sending a meeting invite. </a:t>
            </a:r>
            <a:endParaRPr lang="en-US" dirty="0"/>
          </a:p>
          <a:p>
            <a:r>
              <a:rPr lang="en-US" dirty="0"/>
              <a:t>Tutorial - </a:t>
            </a:r>
            <a:r>
              <a:rPr lang="en-US" sz="900" b="0" i="0" kern="1200" dirty="0">
                <a:solidFill>
                  <a:schemeClr val="tx1"/>
                </a:solidFill>
                <a:effectLst/>
                <a:latin typeface="Segoe UI Light" pitchFamily="34" charset="0"/>
                <a:ea typeface="+mn-ea"/>
                <a:cs typeface="+mn-cs"/>
              </a:rPr>
              <a:t>Use this as the first screen in your app to guide users on how to use your app. </a:t>
            </a:r>
            <a:endParaRPr lang="en-US" dirty="0"/>
          </a:p>
          <a:p>
            <a:r>
              <a:rPr lang="en-US" dirty="0"/>
              <a:t>Email - </a:t>
            </a:r>
            <a:r>
              <a:rPr lang="en-US" sz="900" b="0" i="0" kern="1200" dirty="0">
                <a:solidFill>
                  <a:schemeClr val="tx1"/>
                </a:solidFill>
                <a:effectLst/>
                <a:latin typeface="Segoe UI Light" pitchFamily="34" charset="0"/>
                <a:ea typeface="+mn-ea"/>
                <a:cs typeface="+mn-cs"/>
              </a:rPr>
              <a:t>Add this screen anywhere in your app to send an email. </a:t>
            </a:r>
            <a:endParaRPr lang="en-US" dirty="0"/>
          </a:p>
          <a:p>
            <a:r>
              <a:rPr lang="en-US" dirty="0"/>
              <a:t>People - </a:t>
            </a:r>
            <a:r>
              <a:rPr lang="en-US" sz="900" b="0" i="0" kern="1200" dirty="0">
                <a:solidFill>
                  <a:schemeClr val="tx1"/>
                </a:solidFill>
                <a:effectLst/>
                <a:latin typeface="Segoe UI Light" pitchFamily="34" charset="0"/>
                <a:ea typeface="+mn-ea"/>
                <a:cs typeface="+mn-cs"/>
              </a:rPr>
              <a:t>Search for users in your organization. We automatically add the Office 365 Users connection populate the MyPeople gallery with selected users.</a:t>
            </a:r>
            <a:endParaRPr lang="en-US" dirty="0"/>
          </a:p>
          <a:p>
            <a:r>
              <a:rPr lang="en-US" dirty="0"/>
              <a:t>Meeting - </a:t>
            </a:r>
            <a:r>
              <a:rPr lang="en-US" sz="900" b="0" i="0" kern="1200" dirty="0">
                <a:solidFill>
                  <a:schemeClr val="tx1"/>
                </a:solidFill>
                <a:effectLst/>
                <a:latin typeface="Segoe UI Light" pitchFamily="34" charset="0"/>
                <a:ea typeface="+mn-ea"/>
                <a:cs typeface="+mn-cs"/>
              </a:rPr>
              <a:t>Quickly send a meeting invite via Outlook. Suggested meeting times are automatically populated streamlining the process.</a:t>
            </a:r>
            <a:endParaRPr lang="en-US" dirty="0"/>
          </a:p>
          <a:p>
            <a:r>
              <a:rPr lang="en-US" dirty="0"/>
              <a:t>Calendar - </a:t>
            </a:r>
            <a:r>
              <a:rPr lang="en-US" sz="900" b="0" i="0" kern="1200" dirty="0">
                <a:solidFill>
                  <a:schemeClr val="tx1"/>
                </a:solidFill>
                <a:effectLst/>
                <a:latin typeface="Segoe UI Light" pitchFamily="34" charset="0"/>
                <a:ea typeface="+mn-ea"/>
                <a:cs typeface="+mn-cs"/>
              </a:rPr>
              <a:t>View your schedule for any given date. Use the components from this screen to add custom calendar functionality to your app. </a:t>
            </a:r>
            <a:endParaRPr lang="en-US" dirty="0"/>
          </a:p>
          <a:p>
            <a:endParaRPr lang="en-US" dirty="0"/>
          </a:p>
          <a:p>
            <a:r>
              <a:rPr lang="en-US" dirty="0">
                <a:hlinkClick r:id="rId3"/>
              </a:rPr>
              <a:t>https://powerapps.microsoft.com/en-us/blog/new-screen-template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5/2022 9:0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6013769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add screens to your app, be sure to name them. Then you can access them as a global variable in the formula bar from any other screen.</a:t>
            </a:r>
          </a:p>
          <a:p>
            <a:endParaRPr lang="en-US" dirty="0"/>
          </a:p>
          <a:p>
            <a:r>
              <a:rPr lang="en-US" dirty="0"/>
              <a:t>Passing context between screens is simple and would </a:t>
            </a:r>
            <a:r>
              <a:rPr lang="en-US"/>
              <a:t>look like:</a:t>
            </a:r>
            <a:endParaRPr lang="en-US" dirty="0"/>
          </a:p>
          <a:p>
            <a:endParaRPr lang="en-US" dirty="0"/>
          </a:p>
          <a:p>
            <a:r>
              <a:rPr lang="en-US" dirty="0"/>
              <a:t>Navigate(</a:t>
            </a:r>
            <a:r>
              <a:rPr lang="en-US" dirty="0" err="1"/>
              <a:t>ScreenA,ScreenTransition.Fade</a:t>
            </a:r>
            <a:r>
              <a:rPr lang="en-US" dirty="0"/>
              <a:t>, {</a:t>
            </a:r>
            <a:r>
              <a:rPr lang="en-US" dirty="0" err="1"/>
              <a:t>HorseName</a:t>
            </a:r>
            <a:r>
              <a:rPr lang="en-US" dirty="0"/>
              <a:t>: Luna})</a:t>
            </a:r>
          </a:p>
          <a:p>
            <a:endParaRPr lang="en-US" dirty="0"/>
          </a:p>
          <a:p>
            <a:endParaRPr lang="en-US" dirty="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9/15/2022</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965131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Light"/>
                <a:cs typeface="Segoe UI Light"/>
              </a:rPr>
              <a:t>When you turn this setting off, you also turn off </a:t>
            </a:r>
            <a:r>
              <a:rPr lang="en-US" b="1" dirty="0">
                <a:latin typeface="Segoe UI Light"/>
                <a:cs typeface="Segoe UI Light"/>
              </a:rPr>
              <a:t>Lock aspect ratio</a:t>
            </a:r>
            <a:r>
              <a:rPr lang="en-US" dirty="0">
                <a:latin typeface="Segoe UI Light"/>
                <a:cs typeface="Segoe UI Light"/>
              </a:rPr>
              <a:t> because you're no longer designing for a specific screen shape. (You can still specify whether your app supports device rotation.)</a:t>
            </a:r>
          </a:p>
          <a:p>
            <a:endParaRPr lang="en-US" dirty="0">
              <a:latin typeface="Segoe UI Light"/>
              <a:cs typeface="Segoe UI Light"/>
            </a:endParaRPr>
          </a:p>
          <a:p>
            <a:r>
              <a:rPr lang="en-US" dirty="0">
                <a:latin typeface="Segoe UI Light"/>
                <a:cs typeface="Segoe UI Light"/>
              </a:rPr>
              <a:t>To make your app responsive, you must take additional steps, but this change is the first step toward making responsiveness possible.</a:t>
            </a:r>
          </a:p>
          <a:p>
            <a:br>
              <a:rPr lang="en-US" dirty="0"/>
            </a:br>
            <a:endParaRPr lang="en-US" dirty="0"/>
          </a:p>
          <a:p>
            <a:endParaRPr lang="en-US" dirty="0">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5/2022 9:0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775023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navigate from screen to screen, use a control event, such as a Button’s Click property, and leverage the Navigate() or Back() formulas. When you invoke these formulas, they can accept an input parameter that allows you pass objects, collections, data sets, or other contextual data to the next page. For example, when looking at a list of orders and an order is clicked, you can navigate to the Order Details screen and pass the ID of the order that was clicked.</a:t>
            </a:r>
          </a:p>
          <a:p>
            <a:endParaRPr lang="en-US" dirty="0"/>
          </a:p>
          <a:p>
            <a:r>
              <a:rPr lang="en-US" dirty="0"/>
              <a:t>When you use the Back() formula, it works similar to the Back button in Android (or Back in a web browser).</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9/15/2022 9:0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238612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2_PowerApps_PowerUser_StartingwithConnectorsScreensandControls.docx and complete all tasks</a:t>
            </a:r>
          </a:p>
          <a:p>
            <a:endParaRPr lang="de-AT" dirty="0">
              <a:ea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164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9/15/2022</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454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a:hlinkClick r:id="rId3"/>
              </a:rPr>
              <a:t>Pricing - Power Apps (microsoft.com)</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408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dirty="0">
                <a:hlinkClick r:id="rId3"/>
              </a:rPr>
              <a:t>https://docs.microsoft.com/en-us/connectors/connector-reference/</a:t>
            </a:r>
            <a:endParaRPr lang="en-US" dirty="0"/>
          </a:p>
          <a:p>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7</a:t>
            </a:fld>
            <a:endParaRPr lang="en-US" dirty="0"/>
          </a:p>
        </p:txBody>
      </p:sp>
    </p:spTree>
    <p:extLst>
      <p:ext uri="{BB962C8B-B14F-4D97-AF65-F5344CB8AC3E}">
        <p14:creationId xmlns:p14="http://schemas.microsoft.com/office/powerpoint/2010/main" val="256704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Built-in connectivity to 500+ cloud services, files, databases, web APIs, etc.</a:t>
            </a:r>
          </a:p>
          <a:p>
            <a:endParaRPr lang="en-US" dirty="0"/>
          </a:p>
          <a:p>
            <a:r>
              <a:rPr lang="en-US" dirty="0"/>
              <a:t>Seamless hybrid connectivity to on-premises systems via the On-Premises Data Gateway </a:t>
            </a:r>
          </a:p>
          <a:p>
            <a:endParaRPr lang="en-US" dirty="0"/>
          </a:p>
          <a:p>
            <a:r>
              <a:rPr lang="en-US" dirty="0"/>
              <a:t>Custom Connector support allows the registration of developer / IT systems as a building block for citizen developers</a:t>
            </a:r>
          </a:p>
          <a:p>
            <a:endParaRPr lang="en-US" dirty="0"/>
          </a:p>
          <a:p>
            <a:endParaRPr lang="en-US" dirty="0"/>
          </a:p>
        </p:txBody>
      </p:sp>
      <p:sp>
        <p:nvSpPr>
          <p:cNvPr id="5" name="Slide Image Placeholder 4">
            <a:extLst>
              <a:ext uri="{FF2B5EF4-FFF2-40B4-BE49-F238E27FC236}">
                <a16:creationId xmlns:a16="http://schemas.microsoft.com/office/drawing/2014/main" id="{0F4906BA-328D-4967-AADA-D4008C226B65}"/>
              </a:ext>
            </a:extLst>
          </p:cNvPr>
          <p:cNvSpPr>
            <a:spLocks noGrp="1" noRot="1" noChangeAspect="1"/>
          </p:cNvSpPr>
          <p:nvPr>
            <p:ph type="sldImg"/>
          </p:nvPr>
        </p:nvSpPr>
        <p:spPr>
          <a:xfrm>
            <a:off x="385763" y="485775"/>
            <a:ext cx="6099175" cy="3430588"/>
          </a:xfrm>
        </p:spPr>
      </p:sp>
      <p:sp>
        <p:nvSpPr>
          <p:cNvPr id="6" name="Footer Placeholder 5">
            <a:extLst>
              <a:ext uri="{FF2B5EF4-FFF2-40B4-BE49-F238E27FC236}">
                <a16:creationId xmlns:a16="http://schemas.microsoft.com/office/drawing/2014/main" id="{11B7EFAF-CA70-4998-80A4-C26E69F18480}"/>
              </a:ext>
            </a:extLst>
          </p:cNvPr>
          <p:cNvSpPr>
            <a:spLocks noGrp="1"/>
          </p:cNvSpPr>
          <p:nvPr>
            <p:ph type="ftr" sz="quarter" idx="10"/>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7" name="Slide Number Placeholder 6">
            <a:extLst>
              <a:ext uri="{FF2B5EF4-FFF2-40B4-BE49-F238E27FC236}">
                <a16:creationId xmlns:a16="http://schemas.microsoft.com/office/drawing/2014/main" id="{9EA8A527-CF6A-4E44-B890-5F8981D89C23}"/>
              </a:ext>
            </a:extLst>
          </p:cNvPr>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7A1433C7-9144-4E04-B6EF-F50464873031}"/>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0078D7"/>
                </a:solidFill>
                <a:effectLst/>
                <a:uLnTx/>
                <a:uFillTx/>
                <a:latin typeface="Segoe UI"/>
                <a:ea typeface="+mn-ea"/>
                <a:cs typeface="+mn-cs"/>
              </a:rPr>
              <a:t>“Insert text here”</a:t>
            </a:r>
          </a:p>
        </p:txBody>
      </p:sp>
      <p:sp>
        <p:nvSpPr>
          <p:cNvPr id="9" name="TextBox 8">
            <a:extLst>
              <a:ext uri="{FF2B5EF4-FFF2-40B4-BE49-F238E27FC236}">
                <a16:creationId xmlns:a16="http://schemas.microsoft.com/office/drawing/2014/main" id="{9FE81DA5-603E-4DA0-A073-121010D10081}"/>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05189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dirty="0"/>
              <a:t>Add SQL server as Premium connector.</a:t>
            </a:r>
          </a:p>
        </p:txBody>
      </p:sp>
      <p:sp>
        <p:nvSpPr>
          <p:cNvPr id="4" name="Slide Number Placeholder 3"/>
          <p:cNvSpPr>
            <a:spLocks noGrp="1"/>
          </p:cNvSpPr>
          <p:nvPr>
            <p:ph type="sldNum" sz="quarter" idx="10"/>
          </p:nvPr>
        </p:nvSpPr>
        <p:spPr/>
        <p:txBody>
          <a:bodyPr/>
          <a:lstStyle/>
          <a:p>
            <a:fld id="{1489DB6A-E92B-415B-AFB4-9C72D4A9006D}" type="slidenum">
              <a:rPr lang="en-US" smtClean="0"/>
              <a:t>9</a:t>
            </a:fld>
            <a:endParaRPr lang="en-US" dirty="0"/>
          </a:p>
        </p:txBody>
      </p:sp>
    </p:spTree>
    <p:extLst>
      <p:ext uri="{BB962C8B-B14F-4D97-AF65-F5344CB8AC3E}">
        <p14:creationId xmlns:p14="http://schemas.microsoft.com/office/powerpoint/2010/main" val="3711358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dirty="0"/>
              <a:t>As an example of how to use a connector</a:t>
            </a:r>
          </a:p>
          <a:p>
            <a:r>
              <a:rPr lang="en-US" dirty="0"/>
              <a:t>Navigate to https://powerapps.microsoft.com</a:t>
            </a:r>
          </a:p>
          <a:p>
            <a:r>
              <a:rPr lang="en-US" dirty="0"/>
              <a:t>On the screen click open an existing Power Apps</a:t>
            </a:r>
            <a:endParaRPr lang="en-US" b="1" dirty="0"/>
          </a:p>
          <a:p>
            <a:r>
              <a:rPr lang="en-US" dirty="0"/>
              <a:t>On the ribbon click -&gt; </a:t>
            </a:r>
            <a:r>
              <a:rPr lang="en-US" b="1" dirty="0"/>
              <a:t>View</a:t>
            </a:r>
            <a:r>
              <a:rPr lang="en-US" dirty="0"/>
              <a:t>-&gt;</a:t>
            </a:r>
            <a:r>
              <a:rPr lang="en-US" b="1" dirty="0"/>
              <a:t>Data Source</a:t>
            </a:r>
          </a:p>
          <a:p>
            <a:r>
              <a:rPr lang="en-US" dirty="0"/>
              <a:t>On Pop-Out window select-&gt;</a:t>
            </a:r>
            <a:r>
              <a:rPr lang="en-US" b="1" dirty="0"/>
              <a:t>Add data source-</a:t>
            </a:r>
            <a:r>
              <a:rPr lang="en-US" dirty="0"/>
              <a:t>&gt;</a:t>
            </a:r>
            <a:r>
              <a:rPr lang="en-US" b="1" dirty="0"/>
              <a:t>New connection</a:t>
            </a:r>
            <a:r>
              <a:rPr lang="en-US" dirty="0"/>
              <a:t>-&gt;</a:t>
            </a:r>
            <a:r>
              <a:rPr lang="en-US" b="1" dirty="0"/>
              <a:t>SharePoint </a:t>
            </a:r>
            <a:r>
              <a:rPr lang="en-US" dirty="0"/>
              <a:t>-&gt;</a:t>
            </a:r>
            <a:r>
              <a:rPr lang="en-US" b="1" dirty="0"/>
              <a:t>Connect directly </a:t>
            </a:r>
            <a:r>
              <a:rPr lang="en-US" dirty="0"/>
              <a:t>-&gt;</a:t>
            </a:r>
            <a:r>
              <a:rPr lang="en-US" b="1" dirty="0"/>
              <a:t>Create</a:t>
            </a:r>
          </a:p>
          <a:p>
            <a:r>
              <a:rPr lang="en-US" dirty="0"/>
              <a:t>Enter the SharePoint URL and select the list you want to connect to -&gt;</a:t>
            </a:r>
            <a:r>
              <a:rPr lang="en-US" b="1" dirty="0"/>
              <a:t>Connect</a:t>
            </a:r>
            <a:endParaRPr lang="en-US" dirty="0"/>
          </a:p>
          <a:p>
            <a:r>
              <a:rPr lang="en-US" dirty="0"/>
              <a:t>Also Show all the available data sources.</a:t>
            </a:r>
          </a:p>
        </p:txBody>
      </p:sp>
      <p:sp>
        <p:nvSpPr>
          <p:cNvPr id="4" name="Slide Number Placeholder 3"/>
          <p:cNvSpPr>
            <a:spLocks noGrp="1"/>
          </p:cNvSpPr>
          <p:nvPr>
            <p:ph type="sldNum" sz="quarter" idx="10"/>
          </p:nvPr>
        </p:nvSpPr>
        <p:spPr/>
        <p:txBody>
          <a:bodyPr/>
          <a:lstStyle/>
          <a:p>
            <a:fld id="{1489DB6A-E92B-415B-AFB4-9C72D4A9006D}" type="slidenum">
              <a:rPr lang="en-US" smtClean="0"/>
              <a:t>10</a:t>
            </a:fld>
            <a:endParaRPr lang="en-US" dirty="0"/>
          </a:p>
        </p:txBody>
      </p:sp>
    </p:spTree>
    <p:extLst>
      <p:ext uri="{BB962C8B-B14F-4D97-AF65-F5344CB8AC3E}">
        <p14:creationId xmlns:p14="http://schemas.microsoft.com/office/powerpoint/2010/main" val="807478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ion:</a:t>
            </a:r>
          </a:p>
          <a:p>
            <a:endParaRPr lang="en-US" b="1" dirty="0"/>
          </a:p>
          <a:p>
            <a:pPr marL="171450" indent="-171450">
              <a:buFontTx/>
              <a:buChar char="-"/>
            </a:pPr>
            <a:r>
              <a:rPr lang="en-US" dirty="0"/>
              <a:t>On the left, we see how to create new screens, and how to access existing screens. Click on an existing screen to load it in the designer and edit it.</a:t>
            </a:r>
          </a:p>
          <a:p>
            <a:pPr marL="171450" indent="-171450">
              <a:buFontTx/>
              <a:buChar char="-"/>
            </a:pPr>
            <a:r>
              <a:rPr lang="en-US" dirty="0"/>
              <a:t>On the right, we see a list of controls that we can place on the currently active screen in the designer.</a:t>
            </a:r>
          </a:p>
          <a:p>
            <a:endParaRPr lang="en-US" b="0" dirty="0"/>
          </a:p>
          <a:p>
            <a:r>
              <a:rPr lang="en-US" b="1" dirty="0"/>
              <a:t>Discuss:</a:t>
            </a:r>
          </a:p>
          <a:p>
            <a:endParaRPr lang="en-US" dirty="0"/>
          </a:p>
          <a:p>
            <a:pPr marL="171450" indent="-171450">
              <a:buFontTx/>
              <a:buChar char="-"/>
            </a:pPr>
            <a:r>
              <a:rPr lang="en-US" dirty="0"/>
              <a:t>You build a PowerApps app by creating screens, and by navigating screens in response to user input. Users interact with screens via UI controls such as Radio Buttons, Text Boxes, Dropdowns, etc.</a:t>
            </a:r>
          </a:p>
          <a:p>
            <a:pPr marL="171450" indent="-171450">
              <a:buFontTx/>
              <a:buChar char="-"/>
            </a:pPr>
            <a:r>
              <a:rPr lang="en-US" dirty="0"/>
              <a:t>You control the look and behavior of these UI controls via Formulas in the Formula bar. Anyone familiar with Excel formula bar programming will be comfortable working with Power Apps controls and formulas.</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9/15/2022</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1561159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04929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 y="-1"/>
            <a:ext cx="12435594" cy="6995022"/>
          </a:xfrm>
          <a:prstGeom prst="rect">
            <a:avLst/>
          </a:prstGeom>
        </p:spPr>
      </p:pic>
      <p:sp>
        <p:nvSpPr>
          <p:cNvPr id="2" name="Rectangle 1"/>
          <p:cNvSpPr/>
          <p:nvPr/>
        </p:nvSpPr>
        <p:spPr bwMode="auto">
          <a:xfrm>
            <a:off x="274638"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p:nvSpPr>
        <p:spPr bwMode="auto">
          <a:xfrm>
            <a:off x="278781" y="6240432"/>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chemeClr val="bg1"/>
                </a:solidFill>
              </a:rPr>
              <a:t>Microsoft Services</a:t>
            </a:r>
            <a:endParaRPr lang="en-US" sz="2400" dirty="0">
              <a:solidFill>
                <a:schemeClr val="bg1"/>
              </a:solidFill>
              <a:latin typeface="Segoe UI"/>
            </a:endParaRPr>
          </a:p>
        </p:txBody>
      </p:sp>
    </p:spTree>
    <p:extLst>
      <p:ext uri="{BB962C8B-B14F-4D97-AF65-F5344CB8AC3E}">
        <p14:creationId xmlns:p14="http://schemas.microsoft.com/office/powerpoint/2010/main" val="293973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0890843"/>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3470559"/>
      </p:ext>
    </p:extLst>
  </p:cSld>
  <p:clrMapOvr>
    <a:masterClrMapping/>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72395-B9EF-4528-830A-EB06019D5E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996722-CB49-4721-827F-2AC761002B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CE3AD1-D67A-42C9-B7EB-EEE2678161DF}"/>
              </a:ext>
            </a:extLst>
          </p:cNvPr>
          <p:cNvSpPr>
            <a:spLocks noGrp="1"/>
          </p:cNvSpPr>
          <p:nvPr>
            <p:ph type="dt" sz="half" idx="10"/>
          </p:nvPr>
        </p:nvSpPr>
        <p:spPr/>
        <p:txBody>
          <a:bodyPr/>
          <a:lstStyle/>
          <a:p>
            <a:fld id="{1E3DC7BB-2E07-48D5-9FB2-E119409C64D0}" type="datetimeFigureOut">
              <a:rPr lang="en-US" smtClean="0"/>
              <a:t>9/15/2022</a:t>
            </a:fld>
            <a:endParaRPr lang="en-US" dirty="0"/>
          </a:p>
        </p:txBody>
      </p:sp>
      <p:sp>
        <p:nvSpPr>
          <p:cNvPr id="5" name="Footer Placeholder 4">
            <a:extLst>
              <a:ext uri="{FF2B5EF4-FFF2-40B4-BE49-F238E27FC236}">
                <a16:creationId xmlns:a16="http://schemas.microsoft.com/office/drawing/2014/main" id="{DADBC2D8-9592-4803-B2DC-AC7A3B669C6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1C21DEB-68F9-4A11-8399-5893C19F8EBC}"/>
              </a:ext>
            </a:extLst>
          </p:cNvPr>
          <p:cNvSpPr>
            <a:spLocks noGrp="1"/>
          </p:cNvSpPr>
          <p:nvPr>
            <p:ph type="sldNum" sz="quarter" idx="12"/>
          </p:nvPr>
        </p:nvSpPr>
        <p:spPr/>
        <p:txBody>
          <a:bodyPr/>
          <a:lstStyle/>
          <a:p>
            <a:fld id="{2DA9D9FE-C712-447F-9D2A-3A016B670A89}" type="slidenum">
              <a:rPr lang="en-US" smtClean="0"/>
              <a:t>‹#›</a:t>
            </a:fld>
            <a:endParaRPr lang="en-US" dirty="0"/>
          </a:p>
        </p:txBody>
      </p:sp>
    </p:spTree>
    <p:extLst>
      <p:ext uri="{BB962C8B-B14F-4D97-AF65-F5344CB8AC3E}">
        <p14:creationId xmlns:p14="http://schemas.microsoft.com/office/powerpoint/2010/main" val="3519687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9924983"/>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466302"/>
            <a:ext cx="5486399" cy="753369"/>
          </a:xfrm>
        </p:spPr>
        <p:txBody>
          <a:bodyPr>
            <a:spAutoFit/>
          </a:bodyPr>
          <a:lstStyle>
            <a:lvl1pPr>
              <a:defRPr sz="408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275287" y="1321188"/>
            <a:ext cx="5486299"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Placeholder 3"/>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2424729152"/>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FB040-405A-4801-BB9B-DF93980EFA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91F04C-80F9-481D-8650-04A51F8E30F1}"/>
              </a:ext>
            </a:extLst>
          </p:cNvPr>
          <p:cNvSpPr>
            <a:spLocks noGrp="1"/>
          </p:cNvSpPr>
          <p:nvPr>
            <p:ph sz="half" idx="1"/>
          </p:nvPr>
        </p:nvSpPr>
        <p:spPr>
          <a:xfrm>
            <a:off x="855008" y="1861968"/>
            <a:ext cx="5285502"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67F0B3-439E-4A55-A2B0-3019AFF2C11C}"/>
              </a:ext>
            </a:extLst>
          </p:cNvPr>
          <p:cNvSpPr>
            <a:spLocks noGrp="1"/>
          </p:cNvSpPr>
          <p:nvPr>
            <p:ph sz="half" idx="2"/>
          </p:nvPr>
        </p:nvSpPr>
        <p:spPr>
          <a:xfrm>
            <a:off x="6295965" y="1861968"/>
            <a:ext cx="5285502"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DBC51B-E02D-4F56-9B38-D1BD21764F72}"/>
              </a:ext>
            </a:extLst>
          </p:cNvPr>
          <p:cNvSpPr>
            <a:spLocks noGrp="1"/>
          </p:cNvSpPr>
          <p:nvPr>
            <p:ph type="dt" sz="half" idx="10"/>
          </p:nvPr>
        </p:nvSpPr>
        <p:spPr/>
        <p:txBody>
          <a:bodyPr/>
          <a:lstStyle/>
          <a:p>
            <a:fld id="{1E3DC7BB-2E07-48D5-9FB2-E119409C64D0}" type="datetimeFigureOut">
              <a:rPr lang="en-US" smtClean="0"/>
              <a:t>9/15/2022</a:t>
            </a:fld>
            <a:endParaRPr lang="en-US" dirty="0"/>
          </a:p>
        </p:txBody>
      </p:sp>
      <p:sp>
        <p:nvSpPr>
          <p:cNvPr id="6" name="Footer Placeholder 5">
            <a:extLst>
              <a:ext uri="{FF2B5EF4-FFF2-40B4-BE49-F238E27FC236}">
                <a16:creationId xmlns:a16="http://schemas.microsoft.com/office/drawing/2014/main" id="{1A904DC4-82B2-4F2D-9917-9AA81504EC6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A81725-06C0-4A44-8E70-FCE45BC786A1}"/>
              </a:ext>
            </a:extLst>
          </p:cNvPr>
          <p:cNvSpPr>
            <a:spLocks noGrp="1"/>
          </p:cNvSpPr>
          <p:nvPr>
            <p:ph type="sldNum" sz="quarter" idx="12"/>
          </p:nvPr>
        </p:nvSpPr>
        <p:spPr/>
        <p:txBody>
          <a:bodyPr/>
          <a:lstStyle/>
          <a:p>
            <a:fld id="{2DA9D9FE-C712-447F-9D2A-3A016B670A89}" type="slidenum">
              <a:rPr lang="en-US" smtClean="0"/>
              <a:t>‹#›</a:t>
            </a:fld>
            <a:endParaRPr lang="en-US" dirty="0"/>
          </a:p>
        </p:txBody>
      </p:sp>
    </p:spTree>
    <p:extLst>
      <p:ext uri="{BB962C8B-B14F-4D97-AF65-F5344CB8AC3E}">
        <p14:creationId xmlns:p14="http://schemas.microsoft.com/office/powerpoint/2010/main" val="17661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dirty="0"/>
              <a:t>To switch to </a:t>
            </a:r>
            <a:r>
              <a:rPr lang="en-US" sz="2400" b="1" dirty="0"/>
              <a:t>Notes Page </a:t>
            </a:r>
            <a:r>
              <a:rPr lang="en-US" sz="2400" dirty="0"/>
              <a:t>view:</a:t>
            </a:r>
          </a:p>
          <a:p>
            <a:pPr lvl="1"/>
            <a:r>
              <a:rPr lang="en-US" sz="2400" dirty="0"/>
              <a:t>On the ribbon, click the </a:t>
            </a:r>
            <a:r>
              <a:rPr lang="en-US" sz="2400" b="1" dirty="0"/>
              <a:t>View</a:t>
            </a:r>
            <a:r>
              <a:rPr lang="en-US" sz="2400" dirty="0"/>
              <a:t> tab, and then click </a:t>
            </a:r>
            <a:r>
              <a:rPr lang="en-US" sz="2400" b="1" dirty="0"/>
              <a:t>Notes Page</a:t>
            </a:r>
          </a:p>
          <a:p>
            <a:pPr lvl="0"/>
            <a:endParaRPr lang="en-US" sz="2400" dirty="0"/>
          </a:p>
          <a:p>
            <a:pPr lvl="0"/>
            <a:r>
              <a:rPr lang="en-US" sz="2400" dirty="0"/>
              <a:t>To navigate through notes, use the </a:t>
            </a:r>
            <a:r>
              <a:rPr lang="en-US" sz="2400" b="1" dirty="0"/>
              <a:t>Page Up </a:t>
            </a:r>
            <a:r>
              <a:rPr lang="en-US" sz="2400" dirty="0"/>
              <a:t>and </a:t>
            </a:r>
            <a:r>
              <a:rPr lang="en-US" sz="2400" b="1" dirty="0"/>
              <a:t>Page Down </a:t>
            </a:r>
            <a:r>
              <a:rPr lang="en-US" sz="2400" dirty="0"/>
              <a:t>keys</a:t>
            </a:r>
          </a:p>
          <a:p>
            <a:pPr lvl="1"/>
            <a:r>
              <a:rPr lang="en-US" sz="2400" dirty="0"/>
              <a:t>Zoom in or zoom out, if required</a:t>
            </a:r>
          </a:p>
          <a:p>
            <a:pPr lvl="0"/>
            <a:endParaRPr lang="en-US" sz="2400" dirty="0"/>
          </a:p>
          <a:p>
            <a:pPr lvl="0"/>
            <a:r>
              <a:rPr lang="en-US" sz="2400" dirty="0"/>
              <a:t>In the </a:t>
            </a:r>
            <a:r>
              <a:rPr lang="en-US" sz="2400" b="1" dirty="0"/>
              <a:t>Notes Page </a:t>
            </a:r>
            <a:r>
              <a:rPr lang="en-US" sz="2400" dirty="0"/>
              <a:t>view, you can:</a:t>
            </a:r>
          </a:p>
          <a:p>
            <a:pPr lvl="1"/>
            <a:r>
              <a:rPr lang="en-US" sz="2400" dirty="0"/>
              <a:t>Read any supporting text—now or after the delivery</a:t>
            </a:r>
          </a:p>
          <a:p>
            <a:pPr lvl="1"/>
            <a:r>
              <a:rPr lang="en-US" sz="2400" dirty="0"/>
              <a:t>Add notes to your copy of the presentation, if required</a:t>
            </a:r>
          </a:p>
          <a:p>
            <a:pPr lvl="0"/>
            <a:endParaRPr lang="en-US" sz="2400" dirty="0"/>
          </a:p>
          <a:p>
            <a:pPr lvl="0"/>
            <a:r>
              <a:rPr lang="en-US" sz="2400" dirty="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dirty="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dirty="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dirty="0"/>
              <a:t>&lt;&lt;Lesson 1: Title&gt;&gt;</a:t>
            </a:r>
            <a:br>
              <a:rPr lang="en-US" dirty="0"/>
            </a:br>
            <a:r>
              <a:rPr lang="en-US" dirty="0"/>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dirty="0"/>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dirty="0"/>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dirty="0"/>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dirty="0"/>
              <a:t>&lt;&lt;add content/details/charts/</a:t>
            </a:r>
            <a:r>
              <a:rPr lang="en-US" dirty="0" err="1"/>
              <a:t>smartart</a:t>
            </a:r>
            <a:r>
              <a:rPr lang="en-US" dirty="0"/>
              <a:t>/images/bullets as needed&gt;&gt;</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dirty="0"/>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dirty="0">
                <a:solidFill>
                  <a:schemeClr val="accent3"/>
                </a:solidFill>
                <a:latin typeface="+mj-lt"/>
              </a:rPr>
              <a:t>Knowledge Check</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Question: &gt;&gt;</a:t>
            </a:r>
            <a:br>
              <a:rPr lang="en-US" dirty="0"/>
            </a:br>
            <a:r>
              <a:rPr lang="en-US" dirty="0"/>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dirty="0">
                <a:solidFill>
                  <a:schemeClr val="accent3"/>
                </a:solidFill>
                <a:latin typeface="+mj-lt"/>
              </a:rPr>
              <a:t>Module Summary</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13693100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7190907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700" strike="noStrike" spc="-150"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700" strike="noStrike" spc="-150"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7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203" userDrawn="1">
          <p15:clr>
            <a:srgbClr val="FFFFFF"/>
          </p15:clr>
        </p15:guide>
        <p15:guide id="9" pos="421" userDrawn="1">
          <p15:clr>
            <a:srgbClr val="FFFFFF"/>
          </p15:clr>
        </p15:guide>
        <p15:guide id="10" pos="3232" userDrawn="1">
          <p15:clr>
            <a:srgbClr val="FFFFFF"/>
          </p15:clr>
        </p15:guide>
        <p15:guide id="11" orient="horz" pos="1603" userDrawn="1">
          <p15:clr>
            <a:srgbClr val="FFFFFF"/>
          </p15:clr>
        </p15:guide>
        <p15:guide id="12" orient="horz" pos="2303" userDrawn="1">
          <p15:clr>
            <a:srgbClr val="FFFFFF"/>
          </p15:clr>
        </p15:guide>
        <p15:guide id="13" orient="horz" pos="2503" userDrawn="1">
          <p15:clr>
            <a:srgbClr val="FFFFFF"/>
          </p15:clr>
        </p15:guide>
        <p15:guide id="14" orient="horz" pos="2703" userDrawn="1">
          <p15:clr>
            <a:srgbClr val="FFFF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21" userDrawn="1">
          <p15:clr>
            <a:srgbClr val="FFFFFF"/>
          </p15:clr>
        </p15:guide>
        <p15:guide id="2" pos="6214" userDrawn="1">
          <p15:clr>
            <a:srgbClr val="FFFFFF"/>
          </p15:clr>
        </p15:guide>
        <p15:guide id="3" orient="horz" pos="2203" userDrawn="1">
          <p15:clr>
            <a:srgbClr val="FFFFFF"/>
          </p15:clr>
        </p15:guide>
        <p15:guide id="4" orient="horz" pos="1903" userDrawn="1">
          <p15:clr>
            <a:srgbClr val="FFFFFF"/>
          </p15:clr>
        </p15:guide>
        <p15:guide id="5" orient="horz" pos="2303" userDrawn="1">
          <p15:clr>
            <a:srgbClr val="FFFFFF"/>
          </p15:clr>
        </p15:guide>
        <p15:guide id="6" orient="horz" pos="2503" userDrawn="1">
          <p15:clr>
            <a:srgbClr val="FFFFFF"/>
          </p15:clr>
        </p15:guide>
        <p15:guide id="7" orient="horz" pos="2703" userDrawn="1">
          <p15:clr>
            <a:srgbClr val="FFFF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203" userDrawn="1">
          <p15:clr>
            <a:srgbClr val="A4A3A4"/>
          </p15:clr>
        </p15:guide>
        <p15:guide id="10" orient="horz" pos="2303" userDrawn="1">
          <p15:clr>
            <a:srgbClr val="547EBF"/>
          </p15:clr>
        </p15:guide>
        <p15:guide id="11" orient="horz" pos="1903" userDrawn="1">
          <p15:clr>
            <a:srgbClr val="547EBF"/>
          </p15:clr>
        </p15:guide>
        <p15:guide id="12" orient="horz" pos="2703" userDrawn="1">
          <p15:clr>
            <a:srgbClr val="547EBF"/>
          </p15:clr>
        </p15:guide>
        <p15:guide id="13" orient="horz" pos="2503" userDrawn="1">
          <p15:clr>
            <a:srgbClr val="547EBF"/>
          </p15:clr>
        </p15:guide>
        <p15:guide id="14" pos="421" userDrawn="1">
          <p15:clr>
            <a:srgbClr val="547EBF"/>
          </p15:clr>
        </p15:guide>
        <p15:guide id="15" pos="6214"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817" userDrawn="1">
          <p15:clr>
            <a:srgbClr val="547EBF"/>
          </p15:clr>
        </p15:guide>
        <p15:guide id="31" orient="horz" pos="905" userDrawn="1">
          <p15:clr>
            <a:srgbClr val="547EBF"/>
          </p15:clr>
        </p15:guide>
        <p15:guide id="32" pos="4017" userDrawn="1">
          <p15:clr>
            <a:srgbClr val="547EBF"/>
          </p15:clr>
        </p15:guide>
        <p15:guide id="33" pos="3417" userDrawn="1">
          <p15:clr>
            <a:srgbClr val="A4A3A4"/>
          </p15:clr>
        </p15:guide>
        <p15:guide id="34" pos="3218" userDrawn="1">
          <p15:clr>
            <a:srgbClr val="A4A3A4"/>
          </p15:clr>
        </p15:guide>
        <p15:guide id="35" pos="2818" userDrawn="1">
          <p15:clr>
            <a:srgbClr val="A4A3A4"/>
          </p15:clr>
        </p15:guide>
        <p15:guide id="36" pos="2618" userDrawn="1">
          <p15:clr>
            <a:srgbClr val="A4A3A4"/>
          </p15:clr>
        </p15:guide>
        <p15:guide id="37" pos="2219" userDrawn="1">
          <p15:clr>
            <a:srgbClr val="A4A3A4"/>
          </p15:clr>
        </p15:guide>
        <p15:guide id="38" pos="2020" userDrawn="1">
          <p15:clr>
            <a:srgbClr val="A4A3A4"/>
          </p15:clr>
        </p15:guide>
        <p15:guide id="39" pos="1620" userDrawn="1">
          <p15:clr>
            <a:srgbClr val="A4A3A4"/>
          </p15:clr>
        </p15:guide>
        <p15:guide id="40" pos="1420" userDrawn="1">
          <p15:clr>
            <a:srgbClr val="A4A3A4"/>
          </p15:clr>
        </p15:guide>
        <p15:guide id="41" pos="1020" userDrawn="1">
          <p15:clr>
            <a:srgbClr val="A4A3A4"/>
          </p15:clr>
        </p15:guide>
        <p15:guide id="42" pos="820" userDrawn="1">
          <p15:clr>
            <a:srgbClr val="A4A3A4"/>
          </p15:clr>
        </p15:guide>
        <p15:guide id="43" pos="421" userDrawn="1">
          <p15:clr>
            <a:srgbClr val="547EBF"/>
          </p15:clr>
        </p15:guide>
        <p15:guide id="44" pos="4417" userDrawn="1">
          <p15:clr>
            <a:srgbClr val="A4A3A4"/>
          </p15:clr>
        </p15:guide>
        <p15:guide id="45" pos="4616" userDrawn="1">
          <p15:clr>
            <a:srgbClr val="A4A3A4"/>
          </p15:clr>
        </p15:guide>
        <p15:guide id="46" pos="5615" userDrawn="1">
          <p15:clr>
            <a:srgbClr val="A4A3A4"/>
          </p15:clr>
        </p15:guide>
        <p15:guide id="47" pos="5216" userDrawn="1">
          <p15:clr>
            <a:srgbClr val="A4A3A4"/>
          </p15:clr>
        </p15:guide>
        <p15:guide id="48" pos="5016" userDrawn="1">
          <p15:clr>
            <a:srgbClr val="A4A3A4"/>
          </p15:clr>
        </p15:guide>
        <p15:guide id="49" pos="5814" userDrawn="1">
          <p15:clr>
            <a:srgbClr val="A4A3A4"/>
          </p15:clr>
        </p15:guide>
        <p15:guide id="50" pos="6214" userDrawn="1">
          <p15:clr>
            <a:srgbClr val="A4A3A4"/>
          </p15:clr>
        </p15:guide>
        <p15:guide id="51" pos="6414" userDrawn="1">
          <p15:clr>
            <a:srgbClr val="A4A3A4"/>
          </p15:clr>
        </p15:guide>
        <p15:guide id="52" pos="6814" userDrawn="1">
          <p15:clr>
            <a:srgbClr val="A4A3A4"/>
          </p15:clr>
        </p15:guide>
        <p15:guide id="53" pos="7014" userDrawn="1">
          <p15:clr>
            <a:srgbClr val="A4A3A4"/>
          </p15:clr>
        </p15:guide>
        <p15:guide id="54" pos="7413" userDrawn="1">
          <p15:clr>
            <a:srgbClr val="547EBF"/>
          </p15:clr>
        </p15:guide>
        <p15:guide id="55" orient="horz" pos="4001" userDrawn="1">
          <p15:clr>
            <a:srgbClr val="547EBF"/>
          </p15:clr>
        </p15:guide>
        <p15:guide id="56" orient="horz" pos="805" userDrawn="1">
          <p15:clr>
            <a:srgbClr val="547EBF"/>
          </p15:clr>
        </p15:guide>
        <p15:guide id="57" orient="horz" pos="206" userDrawn="1">
          <p15:clr>
            <a:srgbClr val="547EBF"/>
          </p15:clr>
        </p15:guide>
        <p15:guide id="58" orient="horz" pos="505"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21" userDrawn="1">
          <p15:clr>
            <a:srgbClr val="547EBF"/>
          </p15:clr>
        </p15:guide>
        <p15:guide id="31" orient="horz" pos="905" userDrawn="1">
          <p15:clr>
            <a:srgbClr val="547EBF"/>
          </p15:clr>
        </p15:guide>
        <p15:guide id="32" orient="horz" pos="805" userDrawn="1">
          <p15:clr>
            <a:srgbClr val="547EBF"/>
          </p15:clr>
        </p15:guide>
        <p15:guide id="33" orient="horz" pos="505" userDrawn="1">
          <p15:clr>
            <a:srgbClr val="547EBF"/>
          </p15:clr>
        </p15:guide>
        <p15:guide id="34" orient="horz" pos="206" userDrawn="1">
          <p15:clr>
            <a:srgbClr val="547EBF"/>
          </p15:clr>
        </p15:guide>
        <p15:guide id="35" orient="horz" pos="4001" userDrawn="1">
          <p15:clr>
            <a:srgbClr val="547EBF"/>
          </p15:clr>
        </p15:guide>
        <p15:guide id="36" pos="820" userDrawn="1">
          <p15:clr>
            <a:srgbClr val="A4A3A4"/>
          </p15:clr>
        </p15:guide>
        <p15:guide id="37" pos="1020" userDrawn="1">
          <p15:clr>
            <a:srgbClr val="A4A3A4"/>
          </p15:clr>
        </p15:guide>
        <p15:guide id="38" pos="1420" userDrawn="1">
          <p15:clr>
            <a:srgbClr val="A4A3A4"/>
          </p15:clr>
        </p15:guide>
        <p15:guide id="39" pos="1620" userDrawn="1">
          <p15:clr>
            <a:srgbClr val="A4A3A4"/>
          </p15:clr>
        </p15:guide>
        <p15:guide id="40" pos="2020" userDrawn="1">
          <p15:clr>
            <a:srgbClr val="A4A3A4"/>
          </p15:clr>
        </p15:guide>
        <p15:guide id="41" pos="2219" userDrawn="1">
          <p15:clr>
            <a:srgbClr val="A4A3A4"/>
          </p15:clr>
        </p15:guide>
        <p15:guide id="42" pos="2618" userDrawn="1">
          <p15:clr>
            <a:srgbClr val="A4A3A4"/>
          </p15:clr>
        </p15:guide>
        <p15:guide id="43" pos="2818" userDrawn="1">
          <p15:clr>
            <a:srgbClr val="A4A3A4"/>
          </p15:clr>
        </p15:guide>
        <p15:guide id="44" pos="3218" userDrawn="1">
          <p15:clr>
            <a:srgbClr val="A4A3A4"/>
          </p15:clr>
        </p15:guide>
        <p15:guide id="45" pos="3417" userDrawn="1">
          <p15:clr>
            <a:srgbClr val="A4A3A4"/>
          </p15:clr>
        </p15:guide>
        <p15:guide id="46" pos="3817" userDrawn="1">
          <p15:clr>
            <a:srgbClr val="547EBF"/>
          </p15:clr>
        </p15:guide>
        <p15:guide id="47" pos="4017" userDrawn="1">
          <p15:clr>
            <a:srgbClr val="547EBF"/>
          </p15:clr>
        </p15:guide>
        <p15:guide id="48" pos="4417" userDrawn="1">
          <p15:clr>
            <a:srgbClr val="A4A3A4"/>
          </p15:clr>
        </p15:guide>
        <p15:guide id="49" pos="4616" userDrawn="1">
          <p15:clr>
            <a:srgbClr val="A4A3A4"/>
          </p15:clr>
        </p15:guide>
        <p15:guide id="50" pos="5216" userDrawn="1">
          <p15:clr>
            <a:srgbClr val="A4A3A4"/>
          </p15:clr>
        </p15:guide>
        <p15:guide id="51" pos="5016" userDrawn="1">
          <p15:clr>
            <a:srgbClr val="A4A3A4"/>
          </p15:clr>
        </p15:guide>
        <p15:guide id="52" pos="5615" userDrawn="1">
          <p15:clr>
            <a:srgbClr val="A4A3A4"/>
          </p15:clr>
        </p15:guide>
        <p15:guide id="53" pos="5814" userDrawn="1">
          <p15:clr>
            <a:srgbClr val="A4A3A4"/>
          </p15:clr>
        </p15:guide>
        <p15:guide id="54" pos="6214" userDrawn="1">
          <p15:clr>
            <a:srgbClr val="A4A3A4"/>
          </p15:clr>
        </p15:guide>
        <p15:guide id="55" pos="6414" userDrawn="1">
          <p15:clr>
            <a:srgbClr val="A4A3A4"/>
          </p15:clr>
        </p15:guide>
        <p15:guide id="56" pos="6814" userDrawn="1">
          <p15:clr>
            <a:srgbClr val="A4A3A4"/>
          </p15:clr>
        </p15:guide>
        <p15:guide id="57" pos="7014" userDrawn="1">
          <p15:clr>
            <a:srgbClr val="A4A3A4"/>
          </p15:clr>
        </p15:guide>
        <p15:guide id="58" pos="7413" userDrawn="1">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21" userDrawn="1">
          <p15:clr>
            <a:srgbClr val="547EBF"/>
          </p15:clr>
        </p15:guide>
        <p15:guide id="7" pos="6214" userDrawn="1">
          <p15:clr>
            <a:srgbClr val="547EBF"/>
          </p15:clr>
        </p15:guide>
        <p15:guide id="8" orient="horz" pos="2203" userDrawn="1">
          <p15:clr>
            <a:srgbClr val="547EBF"/>
          </p15:clr>
        </p15:guide>
        <p15:guide id="9" orient="horz" pos="2303" userDrawn="1">
          <p15:clr>
            <a:srgbClr val="547EBF"/>
          </p15:clr>
        </p15:guide>
        <p15:guide id="10" orient="horz" pos="190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2003"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405" userDrawn="1">
          <p15:clr>
            <a:srgbClr val="547EBF"/>
          </p15:clr>
        </p15:guide>
        <p15:guide id="11" pos="3218" userDrawn="1">
          <p15:clr>
            <a:srgbClr val="547EBF"/>
          </p15:clr>
        </p15:guide>
        <p15:guide id="12" pos="3417" userDrawn="1">
          <p15:clr>
            <a:srgbClr val="547EBF"/>
          </p15:clr>
        </p15:guide>
        <p15:guide id="13" pos="421" userDrawn="1">
          <p15:clr>
            <a:srgbClr val="547EBF"/>
          </p15:clr>
        </p15:guide>
        <p15:guide id="14" orient="horz" pos="4001" userDrawn="1">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9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914" userDrawn="1">
          <p15:clr>
            <a:srgbClr val="547EBF"/>
          </p15:clr>
        </p15:guide>
        <p15:guide id="9" orient="horz" pos="4001" userDrawn="1">
          <p15:clr>
            <a:srgbClr val="547EBF"/>
          </p15:clr>
        </p15:guide>
        <p15:guide id="10" pos="3417" userDrawn="1">
          <p15:clr>
            <a:srgbClr val="547EBF"/>
          </p15:clr>
        </p15:guide>
        <p15:guide id="11" pos="3218" userDrawn="1">
          <p15:clr>
            <a:srgbClr val="547EBF"/>
          </p15:clr>
        </p15:guide>
        <p15:guide id="12" pos="421"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3002" userDrawn="1">
          <p15:clr>
            <a:srgbClr val="547EBF"/>
          </p15:clr>
        </p15:guide>
        <p15:guide id="11" orient="horz" pos="4001" userDrawn="1">
          <p15:clr>
            <a:srgbClr val="547EBF"/>
          </p15:clr>
        </p15:guide>
        <p15:guide id="12" orient="horz" pos="3201"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304" userDrawn="1">
          <p15:clr>
            <a:srgbClr val="547EBF"/>
          </p15:clr>
        </p15:guide>
        <p15:guide id="11" orient="horz" pos="405" userDrawn="1">
          <p15:clr>
            <a:srgbClr val="547EBF"/>
          </p15:clr>
        </p15:guide>
        <p15:guide id="12" orient="horz" pos="1205"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00">
                <a:latin typeface="Segoe UI Semibold" panose="020B0702040204020203" pitchFamily="34" charset="0"/>
                <a:cs typeface="Segoe UI Semibold" panose="020B0702040204020203" pitchFamily="34" charset="0"/>
              </a:defRPr>
            </a:lvl1pPr>
            <a:lvl2pPr marL="641160" indent="-34972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4014" userDrawn="1">
          <p15:clr>
            <a:srgbClr val="547EBF"/>
          </p15:clr>
        </p15:guide>
        <p15:guide id="37" pos="2424" userDrawn="1">
          <p15:clr>
            <a:srgbClr val="FFFFFF"/>
          </p15:clr>
        </p15:guide>
        <p15:guide id="38" orient="horz" pos="898" userDrawn="1">
          <p15:clr>
            <a:srgbClr val="547EBF"/>
          </p15:clr>
        </p15:guide>
        <p15:guide id="39" pos="4749"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guide id="43" pos="4896"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4001" userDrawn="1">
          <p15:clr>
            <a:srgbClr val="547EBF"/>
          </p15:clr>
        </p15:guide>
        <p15:guide id="37" pos="2424" userDrawn="1">
          <p15:clr>
            <a:srgbClr val="FFFFFF"/>
          </p15:clr>
        </p15:guide>
        <p15:guide id="38" orient="horz" pos="405" userDrawn="1">
          <p15:clr>
            <a:srgbClr val="547EBF"/>
          </p15:clr>
        </p15:guide>
        <p15:guide id="39" pos="3218"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405" userDrawn="1">
          <p15:clr>
            <a:srgbClr val="547EBF"/>
          </p15:clr>
        </p15:guide>
        <p15:guide id="38" orient="horz" pos="4001" userDrawn="1">
          <p15:clr>
            <a:srgbClr val="547EBF"/>
          </p15:clr>
        </p15:guide>
        <p15:guide id="39" pos="2818" userDrawn="1">
          <p15:clr>
            <a:srgbClr val="547EBF"/>
          </p15:clr>
        </p15:guide>
        <p15:guide id="40" pos="421" userDrawn="1">
          <p15:clr>
            <a:srgbClr val="547EBF"/>
          </p15:clr>
        </p15:guide>
        <p15:guide id="41" pos="2419" userDrawn="1">
          <p15:clr>
            <a:srgbClr val="547EBF"/>
          </p15:clr>
        </p15:guide>
        <p15:guide id="42" pos="3218" userDrawn="1">
          <p15:clr>
            <a:srgbClr val="547EBF"/>
          </p15:clr>
        </p15:guide>
        <p15:guide id="43" pos="7413"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3516692"/>
          </a:xfrm>
          <a:prstGeom prst="rect">
            <a:avLst/>
          </a:prstGeom>
        </p:spPr>
        <p:txBody>
          <a:bodyPr vert="horz" lIns="93247" tIns="46623" rIns="93247" bIns="4662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3300" b="1" kern="1200" dirty="0">
                <a:solidFill>
                  <a:srgbClr val="000000"/>
                </a:solidFill>
                <a:latin typeface="&amp;quot"/>
                <a:ea typeface="+mn-ea"/>
                <a:cs typeface="+mn-cs"/>
              </a:rPr>
              <a:t>CONDITIONS AND TERMS OF USE:</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41162"/>
            <a:ext cx="4572000" cy="1098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44508" indent="-167867">
              <a:spcBef>
                <a:spcPts val="337"/>
              </a:spcBef>
              <a:defRPr sz="1800" baseline="0"/>
            </a:lvl6pPr>
            <a:lvl7pPr marL="1044508" indent="-167867">
              <a:spcBef>
                <a:spcPts val="337"/>
              </a:spcBef>
              <a:defRPr sz="1800" baseline="0"/>
            </a:lvl7pPr>
            <a:lvl8pPr marL="1044508" indent="-167867">
              <a:spcBef>
                <a:spcPts val="337"/>
              </a:spcBef>
              <a:defRPr sz="1800" baseline="0"/>
            </a:lvl8pPr>
            <a:lvl9pPr marL="1044508" indent="-167867">
              <a:spcBef>
                <a:spcPts val="337"/>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8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6" userDrawn="1">
          <p15:clr>
            <a:srgbClr val="FFFFFF"/>
          </p15:clr>
        </p15:guide>
        <p15:guide id="10" orient="horz" pos="505" userDrawn="1">
          <p15:clr>
            <a:srgbClr val="FFFFFF"/>
          </p15:clr>
        </p15:guide>
        <p15:guide id="11" orient="horz" pos="905" userDrawn="1">
          <p15:clr>
            <a:srgbClr val="FFFFFF"/>
          </p15:clr>
        </p15:guide>
        <p15:guide id="12" orient="horz" pos="4001" userDrawn="1">
          <p15:clr>
            <a:srgbClr val="FFFFFF"/>
          </p15:clr>
        </p15:guide>
        <p15:guide id="13" pos="421" userDrawn="1">
          <p15:clr>
            <a:srgbClr val="FFFFFF"/>
          </p15:clr>
        </p15:guide>
        <p15:guide id="14" pos="7413" userDrawn="1">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1.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tags" Target="../tags/tag2.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heme" Target="../theme/theme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7.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tags" Target="../tags/tag3.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tags" Target="../tags/tag1.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268" r:id="rId13"/>
    <p:sldLayoutId id="2147484195" r:id="rId14"/>
    <p:sldLayoutId id="2147484096" r:id="rId15"/>
    <p:sldLayoutId id="2147484304" r:id="rId16"/>
    <p:sldLayoutId id="2147484305" r:id="rId17"/>
    <p:sldLayoutId id="2147484306" r:id="rId18"/>
    <p:sldLayoutId id="2147484307" r:id="rId19"/>
    <p:sldLayoutId id="2147484308" r:id="rId20"/>
    <p:sldLayoutId id="2147484309" r:id="rId21"/>
    <p:sldLayoutId id="2147484310"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 id="2147484339" r:id="rId18"/>
    <p:sldLayoutId id="214748434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Lst>
  <p:txStyles>
    <p:titleStyle>
      <a:lvl1pPr algn="l" defTabSz="951304" rtl="0" eaLnBrk="1" latinLnBrk="0" hangingPunct="1">
        <a:lnSpc>
          <a:spcPts val="3692"/>
        </a:lnSpc>
        <a:spcBef>
          <a:spcPct val="0"/>
        </a:spcBef>
        <a:buNone/>
        <a:defRPr lang="en-GB" sz="3300"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0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00"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32597" rtl="0" eaLnBrk="1" latinLnBrk="0" hangingPunct="1">
        <a:defRPr sz="1800" kern="1200">
          <a:solidFill>
            <a:schemeClr val="tx1"/>
          </a:solidFill>
          <a:latin typeface="+mn-lt"/>
          <a:ea typeface="+mn-ea"/>
          <a:cs typeface="+mn-cs"/>
        </a:defRPr>
      </a:lvl1pPr>
      <a:lvl2pPr marL="466298" algn="l" defTabSz="932597" rtl="0" eaLnBrk="1" latinLnBrk="0" hangingPunct="1">
        <a:defRPr sz="1800" kern="1200">
          <a:solidFill>
            <a:schemeClr val="tx1"/>
          </a:solidFill>
          <a:latin typeface="+mn-lt"/>
          <a:ea typeface="+mn-ea"/>
          <a:cs typeface="+mn-cs"/>
        </a:defRPr>
      </a:lvl2pPr>
      <a:lvl3pPr marL="932597" algn="l" defTabSz="932597" rtl="0" eaLnBrk="1" latinLnBrk="0" hangingPunct="1">
        <a:defRPr sz="1800" kern="1200">
          <a:solidFill>
            <a:schemeClr val="tx1"/>
          </a:solidFill>
          <a:latin typeface="+mn-lt"/>
          <a:ea typeface="+mn-ea"/>
          <a:cs typeface="+mn-cs"/>
        </a:defRPr>
      </a:lvl3pPr>
      <a:lvl4pPr marL="1398895" algn="l" defTabSz="932597" rtl="0" eaLnBrk="1" latinLnBrk="0" hangingPunct="1">
        <a:defRPr sz="1800" kern="1200">
          <a:solidFill>
            <a:schemeClr val="tx1"/>
          </a:solidFill>
          <a:latin typeface="+mn-lt"/>
          <a:ea typeface="+mn-ea"/>
          <a:cs typeface="+mn-cs"/>
        </a:defRPr>
      </a:lvl4pPr>
      <a:lvl5pPr marL="1865193" algn="l" defTabSz="932597" rtl="0" eaLnBrk="1" latinLnBrk="0" hangingPunct="1">
        <a:defRPr sz="1800" kern="1200">
          <a:solidFill>
            <a:schemeClr val="tx1"/>
          </a:solidFill>
          <a:latin typeface="+mn-lt"/>
          <a:ea typeface="+mn-ea"/>
          <a:cs typeface="+mn-cs"/>
        </a:defRPr>
      </a:lvl5pPr>
      <a:lvl6pPr marL="2331491" algn="l" defTabSz="932597" rtl="0" eaLnBrk="1" latinLnBrk="0" hangingPunct="1">
        <a:defRPr sz="1800" kern="1200">
          <a:solidFill>
            <a:schemeClr val="tx1"/>
          </a:solidFill>
          <a:latin typeface="+mn-lt"/>
          <a:ea typeface="+mn-ea"/>
          <a:cs typeface="+mn-cs"/>
        </a:defRPr>
      </a:lvl6pPr>
      <a:lvl7pPr marL="2797790" algn="l" defTabSz="932597" rtl="0" eaLnBrk="1" latinLnBrk="0" hangingPunct="1">
        <a:defRPr sz="1800" kern="1200">
          <a:solidFill>
            <a:schemeClr val="tx1"/>
          </a:solidFill>
          <a:latin typeface="+mn-lt"/>
          <a:ea typeface="+mn-ea"/>
          <a:cs typeface="+mn-cs"/>
        </a:defRPr>
      </a:lvl7pPr>
      <a:lvl8pPr marL="3264088" algn="l" defTabSz="932597" rtl="0" eaLnBrk="1" latinLnBrk="0" hangingPunct="1">
        <a:defRPr sz="1800" kern="1200">
          <a:solidFill>
            <a:schemeClr val="tx1"/>
          </a:solidFill>
          <a:latin typeface="+mn-lt"/>
          <a:ea typeface="+mn-ea"/>
          <a:cs typeface="+mn-cs"/>
        </a:defRPr>
      </a:lvl8pPr>
      <a:lvl9pPr marL="3730386" algn="l" defTabSz="9325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6" userDrawn="1">
          <p15:clr>
            <a:srgbClr val="A4A3A4"/>
          </p15:clr>
        </p15:guide>
        <p15:guide id="2" pos="196" userDrawn="1">
          <p15:clr>
            <a:srgbClr val="A4A3A4"/>
          </p15:clr>
        </p15:guide>
        <p15:guide id="3" orient="horz" pos="392" userDrawn="1">
          <p15:clr>
            <a:srgbClr val="F26B43"/>
          </p15:clr>
        </p15:guide>
        <p15:guide id="5" orient="horz" pos="4210" userDrawn="1">
          <p15:clr>
            <a:srgbClr val="A4A3A4"/>
          </p15:clr>
        </p15:guide>
        <p15:guide id="6" orient="horz" pos="4014" userDrawn="1">
          <p15:clr>
            <a:srgbClr val="F26B43"/>
          </p15:clr>
        </p15:guide>
        <p15:guide id="7" pos="7442" userDrawn="1">
          <p15:clr>
            <a:srgbClr val="F26B43"/>
          </p15:clr>
        </p15:guide>
        <p15:guide id="8" pos="7638" userDrawn="1">
          <p15:clr>
            <a:srgbClr val="A4A3A4"/>
          </p15:clr>
        </p15:guide>
        <p15:guide id="9" pos="3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7C4_DD33AEA5.xml"/><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7C1_6FC2A69B.xm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6.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3.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119177"/>
            <a:ext cx="6401117" cy="4045085"/>
          </a:xfrm>
          <a:solidFill>
            <a:srgbClr val="0078D7"/>
          </a:solidFill>
        </p:spPr>
        <p:txBody>
          <a:bodyPr/>
          <a:lstStyle/>
          <a:p>
            <a:r>
              <a:rPr lang="en-US" dirty="0">
                <a:cs typeface="Segoe UI"/>
              </a:rPr>
              <a:t>WorkshopPLUS – Power Apps for Power Users 1 Day with Lab</a:t>
            </a:r>
            <a:br>
              <a:rPr lang="en-US" dirty="0"/>
            </a:br>
            <a:br>
              <a:rPr lang="en-US" sz="3800" dirty="0"/>
            </a:br>
            <a:r>
              <a:rPr lang="en-US" dirty="0">
                <a:cs typeface="Segoe UI"/>
              </a:rPr>
              <a:t>Module 2: Starting with connectors, screens, and controls</a:t>
            </a:r>
            <a:br>
              <a:rPr lang="en-US" sz="2800" dirty="0"/>
            </a:br>
            <a:br>
              <a:rPr lang="en-US" sz="2800" dirty="0"/>
            </a:br>
            <a:endParaRPr lang="en-US" sz="2400" dirty="0"/>
          </a:p>
        </p:txBody>
      </p:sp>
    </p:spTree>
    <p:extLst>
      <p:ext uri="{BB962C8B-B14F-4D97-AF65-F5344CB8AC3E}">
        <p14:creationId xmlns:p14="http://schemas.microsoft.com/office/powerpoint/2010/main" val="61629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1C5015-850D-4AB4-BBC4-5CD47E1DB9FE}"/>
              </a:ext>
            </a:extLst>
          </p:cNvPr>
          <p:cNvSpPr>
            <a:spLocks noGrp="1"/>
          </p:cNvSpPr>
          <p:nvPr>
            <p:ph type="title"/>
          </p:nvPr>
        </p:nvSpPr>
        <p:spPr/>
        <p:txBody>
          <a:bodyPr/>
          <a:lstStyle/>
          <a:p>
            <a:r>
              <a:rPr lang="en-US" dirty="0">
                <a:solidFill>
                  <a:srgbClr val="0078D7"/>
                </a:solidFill>
                <a:cs typeface="Segoe UI"/>
              </a:rPr>
              <a:t>Using SharePoint Connector</a:t>
            </a:r>
            <a:br>
              <a:rPr lang="en-US" dirty="0"/>
            </a:br>
            <a:endParaRPr lang="en-US" dirty="0"/>
          </a:p>
        </p:txBody>
      </p:sp>
      <p:sp>
        <p:nvSpPr>
          <p:cNvPr id="10" name="Content Placeholder 9">
            <a:extLst>
              <a:ext uri="{FF2B5EF4-FFF2-40B4-BE49-F238E27FC236}">
                <a16:creationId xmlns:a16="http://schemas.microsoft.com/office/drawing/2014/main" id="{430572B6-216D-4850-AA6C-E9CAAD4D2DD0}"/>
              </a:ext>
            </a:extLst>
          </p:cNvPr>
          <p:cNvSpPr>
            <a:spLocks noGrp="1"/>
          </p:cNvSpPr>
          <p:nvPr>
            <p:ph type="body" sz="quarter" idx="10"/>
          </p:nvPr>
        </p:nvSpPr>
        <p:spPr>
          <a:xfrm>
            <a:off x="250823" y="1021073"/>
            <a:ext cx="11887200" cy="2308324"/>
          </a:xfrm>
        </p:spPr>
        <p:txBody>
          <a:bodyPr/>
          <a:lstStyle/>
          <a:p>
            <a:endParaRPr lang="en-US" dirty="0"/>
          </a:p>
          <a:p>
            <a:r>
              <a:rPr lang="en-US" dirty="0"/>
              <a:t>Example:</a:t>
            </a:r>
          </a:p>
          <a:p>
            <a:pPr lvl="1"/>
            <a:r>
              <a:rPr lang="en-US" dirty="0"/>
              <a:t> Connecting a Power Apps app to a data source.</a:t>
            </a:r>
          </a:p>
          <a:p>
            <a:endParaRPr lang="en-US" dirty="0"/>
          </a:p>
        </p:txBody>
      </p:sp>
      <p:pic>
        <p:nvPicPr>
          <p:cNvPr id="4" name="Picture 3">
            <a:extLst>
              <a:ext uri="{FF2B5EF4-FFF2-40B4-BE49-F238E27FC236}">
                <a16:creationId xmlns:a16="http://schemas.microsoft.com/office/drawing/2014/main" id="{B9AB346A-9645-4F2B-B0C6-544F6AD73F1D}"/>
              </a:ext>
            </a:extLst>
          </p:cNvPr>
          <p:cNvPicPr>
            <a:picLocks noChangeAspect="1"/>
          </p:cNvPicPr>
          <p:nvPr/>
        </p:nvPicPr>
        <p:blipFill>
          <a:blip r:embed="rId4"/>
          <a:stretch>
            <a:fillRect/>
          </a:stretch>
        </p:blipFill>
        <p:spPr>
          <a:xfrm>
            <a:off x="718358" y="2887661"/>
            <a:ext cx="3899679" cy="3773431"/>
          </a:xfrm>
          <a:prstGeom prst="rect">
            <a:avLst/>
          </a:prstGeom>
        </p:spPr>
      </p:pic>
      <p:cxnSp>
        <p:nvCxnSpPr>
          <p:cNvPr id="5" name="Straight Arrow Connector 4">
            <a:extLst>
              <a:ext uri="{FF2B5EF4-FFF2-40B4-BE49-F238E27FC236}">
                <a16:creationId xmlns:a16="http://schemas.microsoft.com/office/drawing/2014/main" id="{962C339F-EDA5-4EC4-B557-49754C4BC899}"/>
              </a:ext>
            </a:extLst>
          </p:cNvPr>
          <p:cNvCxnSpPr>
            <a:cxnSpLocks/>
          </p:cNvCxnSpPr>
          <p:nvPr/>
        </p:nvCxnSpPr>
        <p:spPr>
          <a:xfrm flipH="1" flipV="1">
            <a:off x="1752053" y="3800314"/>
            <a:ext cx="801686" cy="585047"/>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564426CB-A4AA-4921-BFAB-C5FBE608E7D4}"/>
              </a:ext>
            </a:extLst>
          </p:cNvPr>
          <p:cNvCxnSpPr>
            <a:cxnSpLocks/>
          </p:cNvCxnSpPr>
          <p:nvPr/>
        </p:nvCxnSpPr>
        <p:spPr>
          <a:xfrm flipH="1" flipV="1">
            <a:off x="884237" y="5805487"/>
            <a:ext cx="801686" cy="585047"/>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pic>
        <p:nvPicPr>
          <p:cNvPr id="15" name="Picture 14">
            <a:extLst>
              <a:ext uri="{FF2B5EF4-FFF2-40B4-BE49-F238E27FC236}">
                <a16:creationId xmlns:a16="http://schemas.microsoft.com/office/drawing/2014/main" id="{E9F75D86-BFF8-4398-A066-01B3FC3E619A}"/>
              </a:ext>
            </a:extLst>
          </p:cNvPr>
          <p:cNvPicPr>
            <a:picLocks noChangeAspect="1"/>
          </p:cNvPicPr>
          <p:nvPr/>
        </p:nvPicPr>
        <p:blipFill>
          <a:blip r:embed="rId5"/>
          <a:stretch>
            <a:fillRect/>
          </a:stretch>
        </p:blipFill>
        <p:spPr>
          <a:xfrm>
            <a:off x="8123237" y="2568985"/>
            <a:ext cx="1909776" cy="4191031"/>
          </a:xfrm>
          <a:prstGeom prst="rect">
            <a:avLst/>
          </a:prstGeom>
        </p:spPr>
      </p:pic>
    </p:spTree>
    <p:extLst>
      <p:ext uri="{BB962C8B-B14F-4D97-AF65-F5344CB8AC3E}">
        <p14:creationId xmlns:p14="http://schemas.microsoft.com/office/powerpoint/2010/main" val="3711151781"/>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dirty="0">
                <a:solidFill>
                  <a:schemeClr val="tx1">
                    <a:lumMod val="85000"/>
                    <a:lumOff val="15000"/>
                  </a:schemeClr>
                </a:solidFill>
                <a:latin typeface="+mj-lt"/>
                <a:ea typeface="+mj-ea"/>
                <a:cs typeface="+mj-cs"/>
              </a:rPr>
              <a:t>Screens</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22058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8D7"/>
                </a:solidFill>
                <a:cs typeface="Segoe UI"/>
              </a:rPr>
              <a:t>Screens and controls</a:t>
            </a:r>
          </a:p>
        </p:txBody>
      </p:sp>
      <p:sp>
        <p:nvSpPr>
          <p:cNvPr id="6" name="TextBox 5"/>
          <p:cNvSpPr txBox="1"/>
          <p:nvPr/>
        </p:nvSpPr>
        <p:spPr>
          <a:xfrm>
            <a:off x="3575791" y="3835265"/>
            <a:ext cx="1559382" cy="647165"/>
          </a:xfrm>
          <a:prstGeom prst="rect">
            <a:avLst/>
          </a:prstGeom>
          <a:noFill/>
        </p:spPr>
        <p:txBody>
          <a:bodyPr wrap="non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Controls</a:t>
            </a:r>
          </a:p>
        </p:txBody>
      </p:sp>
      <p:sp>
        <p:nvSpPr>
          <p:cNvPr id="16" name="TextBox 15"/>
          <p:cNvSpPr txBox="1"/>
          <p:nvPr/>
        </p:nvSpPr>
        <p:spPr>
          <a:xfrm>
            <a:off x="3395597" y="2591413"/>
            <a:ext cx="1451478" cy="647165"/>
          </a:xfrm>
          <a:prstGeom prst="rect">
            <a:avLst/>
          </a:prstGeom>
          <a:noFill/>
        </p:spPr>
        <p:txBody>
          <a:bodyPr wrap="non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Screens</a:t>
            </a:r>
          </a:p>
        </p:txBody>
      </p:sp>
      <p:pic>
        <p:nvPicPr>
          <p:cNvPr id="5" name="Picture 4">
            <a:extLst>
              <a:ext uri="{FF2B5EF4-FFF2-40B4-BE49-F238E27FC236}">
                <a16:creationId xmlns:a16="http://schemas.microsoft.com/office/drawing/2014/main" id="{14B8D2B4-2DA2-485E-AE75-814AA0EAE63C}"/>
              </a:ext>
            </a:extLst>
          </p:cNvPr>
          <p:cNvPicPr>
            <a:picLocks noChangeAspect="1"/>
          </p:cNvPicPr>
          <p:nvPr/>
        </p:nvPicPr>
        <p:blipFill>
          <a:blip r:embed="rId3"/>
          <a:stretch>
            <a:fillRect/>
          </a:stretch>
        </p:blipFill>
        <p:spPr>
          <a:xfrm>
            <a:off x="239345" y="1299910"/>
            <a:ext cx="2613160" cy="4907311"/>
          </a:xfrm>
          <a:prstGeom prst="rect">
            <a:avLst/>
          </a:prstGeom>
        </p:spPr>
      </p:pic>
      <p:cxnSp>
        <p:nvCxnSpPr>
          <p:cNvPr id="7" name="Straight Arrow Connector 6">
            <a:extLst>
              <a:ext uri="{FF2B5EF4-FFF2-40B4-BE49-F238E27FC236}">
                <a16:creationId xmlns:a16="http://schemas.microsoft.com/office/drawing/2014/main" id="{7A7C7DEE-8296-428E-AF86-9BBF72095878}"/>
              </a:ext>
            </a:extLst>
          </p:cNvPr>
          <p:cNvCxnSpPr>
            <a:cxnSpLocks/>
            <a:stCxn id="16" idx="1"/>
          </p:cNvCxnSpPr>
          <p:nvPr/>
        </p:nvCxnSpPr>
        <p:spPr>
          <a:xfrm flipH="1" flipV="1">
            <a:off x="1885933" y="2651915"/>
            <a:ext cx="1509664" cy="26308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854DAF1C-8934-4589-B12E-99748750D324}"/>
              </a:ext>
            </a:extLst>
          </p:cNvPr>
          <p:cNvCxnSpPr>
            <a:cxnSpLocks/>
            <a:stCxn id="16" idx="1"/>
          </p:cNvCxnSpPr>
          <p:nvPr/>
        </p:nvCxnSpPr>
        <p:spPr>
          <a:xfrm flipH="1">
            <a:off x="1885933" y="2914996"/>
            <a:ext cx="1509664" cy="24675"/>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pic>
        <p:nvPicPr>
          <p:cNvPr id="31" name="Picture 30">
            <a:extLst>
              <a:ext uri="{FF2B5EF4-FFF2-40B4-BE49-F238E27FC236}">
                <a16:creationId xmlns:a16="http://schemas.microsoft.com/office/drawing/2014/main" id="{8CF71A76-8C0C-4C07-98D7-E27FC8EAACA7}"/>
              </a:ext>
            </a:extLst>
          </p:cNvPr>
          <p:cNvPicPr>
            <a:picLocks noChangeAspect="1"/>
          </p:cNvPicPr>
          <p:nvPr/>
        </p:nvPicPr>
        <p:blipFill>
          <a:blip r:embed="rId4"/>
          <a:stretch>
            <a:fillRect/>
          </a:stretch>
        </p:blipFill>
        <p:spPr>
          <a:xfrm>
            <a:off x="5874034" y="1212849"/>
            <a:ext cx="4948249" cy="4990183"/>
          </a:xfrm>
          <a:prstGeom prst="rect">
            <a:avLst/>
          </a:prstGeom>
        </p:spPr>
      </p:pic>
      <p:cxnSp>
        <p:nvCxnSpPr>
          <p:cNvPr id="33" name="Straight Arrow Connector 32">
            <a:extLst>
              <a:ext uri="{FF2B5EF4-FFF2-40B4-BE49-F238E27FC236}">
                <a16:creationId xmlns:a16="http://schemas.microsoft.com/office/drawing/2014/main" id="{7EB6BD32-1E60-478C-B58B-5CE3BA39A93D}"/>
              </a:ext>
            </a:extLst>
          </p:cNvPr>
          <p:cNvCxnSpPr>
            <a:cxnSpLocks/>
            <a:stCxn id="6" idx="3"/>
          </p:cNvCxnSpPr>
          <p:nvPr/>
        </p:nvCxnSpPr>
        <p:spPr>
          <a:xfrm flipV="1">
            <a:off x="5135173" y="3000736"/>
            <a:ext cx="823850" cy="1158112"/>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37" name="Straight Arrow Connector 36">
            <a:extLst>
              <a:ext uri="{FF2B5EF4-FFF2-40B4-BE49-F238E27FC236}">
                <a16:creationId xmlns:a16="http://schemas.microsoft.com/office/drawing/2014/main" id="{1DBC5F0D-B114-4683-A093-1825C4EA5F13}"/>
              </a:ext>
            </a:extLst>
          </p:cNvPr>
          <p:cNvCxnSpPr>
            <a:cxnSpLocks/>
            <a:stCxn id="6" idx="3"/>
          </p:cNvCxnSpPr>
          <p:nvPr/>
        </p:nvCxnSpPr>
        <p:spPr>
          <a:xfrm>
            <a:off x="5135173" y="4158848"/>
            <a:ext cx="1692664" cy="11560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47" name="Straight Arrow Connector 46">
            <a:extLst>
              <a:ext uri="{FF2B5EF4-FFF2-40B4-BE49-F238E27FC236}">
                <a16:creationId xmlns:a16="http://schemas.microsoft.com/office/drawing/2014/main" id="{417B4318-9A7F-4E32-B7AD-3C1E68212A85}"/>
              </a:ext>
            </a:extLst>
          </p:cNvPr>
          <p:cNvCxnSpPr>
            <a:cxnSpLocks/>
          </p:cNvCxnSpPr>
          <p:nvPr/>
        </p:nvCxnSpPr>
        <p:spPr>
          <a:xfrm flipH="1" flipV="1">
            <a:off x="1885933" y="3943130"/>
            <a:ext cx="1847026" cy="35293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51" name="Straight Arrow Connector 50">
            <a:extLst>
              <a:ext uri="{FF2B5EF4-FFF2-40B4-BE49-F238E27FC236}">
                <a16:creationId xmlns:a16="http://schemas.microsoft.com/office/drawing/2014/main" id="{B71AA4C2-E597-46F0-9CCE-A6D7929EC3EB}"/>
              </a:ext>
            </a:extLst>
          </p:cNvPr>
          <p:cNvCxnSpPr>
            <a:cxnSpLocks/>
          </p:cNvCxnSpPr>
          <p:nvPr/>
        </p:nvCxnSpPr>
        <p:spPr>
          <a:xfrm flipH="1">
            <a:off x="1874839" y="4296061"/>
            <a:ext cx="1896661" cy="72520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09349645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6EB64-FD4C-459D-B464-A3D329DB8677}"/>
              </a:ext>
            </a:extLst>
          </p:cNvPr>
          <p:cNvSpPr>
            <a:spLocks noGrp="1"/>
          </p:cNvSpPr>
          <p:nvPr>
            <p:ph type="title"/>
          </p:nvPr>
        </p:nvSpPr>
        <p:spPr/>
        <p:txBody>
          <a:bodyPr/>
          <a:lstStyle/>
          <a:p>
            <a:r>
              <a:rPr lang="en-US" dirty="0">
                <a:solidFill>
                  <a:srgbClr val="0078D7"/>
                </a:solidFill>
                <a:cs typeface="Segoe UI"/>
              </a:rPr>
              <a:t>Screen Templates</a:t>
            </a:r>
          </a:p>
        </p:txBody>
      </p:sp>
      <p:sp>
        <p:nvSpPr>
          <p:cNvPr id="3" name="Text Placeholder 2">
            <a:extLst>
              <a:ext uri="{FF2B5EF4-FFF2-40B4-BE49-F238E27FC236}">
                <a16:creationId xmlns:a16="http://schemas.microsoft.com/office/drawing/2014/main" id="{C497D5A6-330C-4DB4-8B38-BFF51F04CBA8}"/>
              </a:ext>
            </a:extLst>
          </p:cNvPr>
          <p:cNvSpPr>
            <a:spLocks noGrp="1"/>
          </p:cNvSpPr>
          <p:nvPr>
            <p:ph type="body" sz="quarter" idx="10"/>
          </p:nvPr>
        </p:nvSpPr>
        <p:spPr>
          <a:xfrm>
            <a:off x="274638" y="1212850"/>
            <a:ext cx="3276599" cy="5503045"/>
          </a:xfrm>
        </p:spPr>
        <p:txBody>
          <a:bodyPr vert="horz" wrap="square" lIns="146304" tIns="91440" rIns="146304" bIns="91440" rtlCol="0" anchor="t">
            <a:spAutoFit/>
          </a:bodyPr>
          <a:lstStyle/>
          <a:p>
            <a:r>
              <a:rPr lang="en-US" sz="3200" dirty="0"/>
              <a:t>Blank</a:t>
            </a:r>
            <a:endParaRPr lang="en-US" sz="3200" dirty="0">
              <a:cs typeface="Segoe UI Light"/>
            </a:endParaRPr>
          </a:p>
          <a:p>
            <a:r>
              <a:rPr lang="en-US" sz="3200" dirty="0"/>
              <a:t>Scrollable</a:t>
            </a:r>
            <a:endParaRPr lang="en-US" sz="3200" dirty="0">
              <a:cs typeface="Segoe UI Light"/>
            </a:endParaRPr>
          </a:p>
          <a:p>
            <a:r>
              <a:rPr lang="en-US" sz="3200" dirty="0"/>
              <a:t>List</a:t>
            </a:r>
            <a:endParaRPr lang="en-US" sz="3200" dirty="0">
              <a:cs typeface="Segoe UI Light"/>
            </a:endParaRPr>
          </a:p>
          <a:p>
            <a:r>
              <a:rPr lang="en-US" sz="3200" dirty="0"/>
              <a:t>Success</a:t>
            </a:r>
            <a:endParaRPr lang="en-US" sz="3200" dirty="0">
              <a:cs typeface="Segoe UI Light"/>
            </a:endParaRPr>
          </a:p>
          <a:p>
            <a:r>
              <a:rPr lang="en-US" sz="3200" dirty="0"/>
              <a:t>Tutorial</a:t>
            </a:r>
            <a:endParaRPr lang="en-US" sz="3200" dirty="0">
              <a:cs typeface="Segoe UI Light"/>
            </a:endParaRPr>
          </a:p>
          <a:p>
            <a:r>
              <a:rPr lang="en-US" sz="3200" dirty="0"/>
              <a:t>Email</a:t>
            </a:r>
            <a:endParaRPr lang="en-US" sz="3200" dirty="0">
              <a:cs typeface="Segoe UI Light"/>
            </a:endParaRPr>
          </a:p>
          <a:p>
            <a:r>
              <a:rPr lang="en-US" sz="3200" dirty="0"/>
              <a:t>People</a:t>
            </a:r>
            <a:endParaRPr lang="en-US" sz="3200" dirty="0">
              <a:cs typeface="Segoe UI Light"/>
            </a:endParaRPr>
          </a:p>
          <a:p>
            <a:r>
              <a:rPr lang="en-US" sz="3200" dirty="0"/>
              <a:t>Meeting</a:t>
            </a:r>
            <a:endParaRPr lang="en-US" sz="3200" dirty="0">
              <a:cs typeface="Segoe UI Light"/>
            </a:endParaRPr>
          </a:p>
          <a:p>
            <a:r>
              <a:rPr lang="en-US" sz="3200" dirty="0"/>
              <a:t>Calendar</a:t>
            </a:r>
            <a:endParaRPr lang="en-US" sz="3200" dirty="0">
              <a:cs typeface="Segoe UI Light"/>
            </a:endParaRPr>
          </a:p>
          <a:p>
            <a:endParaRPr lang="en-US" sz="3200" dirty="0">
              <a:cs typeface="Segoe UI Light"/>
            </a:endParaRPr>
          </a:p>
        </p:txBody>
      </p:sp>
      <p:sp>
        <p:nvSpPr>
          <p:cNvPr id="5" name="TextBox 4">
            <a:extLst>
              <a:ext uri="{FF2B5EF4-FFF2-40B4-BE49-F238E27FC236}">
                <a16:creationId xmlns:a16="http://schemas.microsoft.com/office/drawing/2014/main" id="{920DB69D-009B-419C-9C46-0C582BAEAD46}"/>
              </a:ext>
            </a:extLst>
          </p:cNvPr>
          <p:cNvSpPr txBox="1"/>
          <p:nvPr/>
        </p:nvSpPr>
        <p:spPr>
          <a:xfrm>
            <a:off x="7589838" y="1212849"/>
            <a:ext cx="3657600" cy="4925451"/>
          </a:xfrm>
          <a:prstGeom prst="rect">
            <a:avLst/>
          </a:prstGeom>
          <a:noFill/>
        </p:spPr>
        <p:txBody>
          <a:bodyPr wrap="square" lIns="182880" tIns="146304" rIns="182880" bIns="146304" rtlCol="0" anchor="t">
            <a:spAutoFit/>
          </a:bodyPr>
          <a:lstStyle/>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Templates can be further customized</a:t>
            </a:r>
            <a:endParaRPr lang="en-US"/>
          </a:p>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Designed to work together, using shared collection like MyPeople</a:t>
            </a:r>
            <a:endParaRPr lang="en-US" sz="2400" dirty="0">
              <a:gradFill>
                <a:gsLst>
                  <a:gs pos="2917">
                    <a:schemeClr val="tx1"/>
                  </a:gs>
                  <a:gs pos="30000">
                    <a:schemeClr val="tx1"/>
                  </a:gs>
                </a:gsLst>
                <a:lin ang="5400000" scaled="0"/>
              </a:gradFill>
              <a:cs typeface="Segoe UI"/>
            </a:endParaRPr>
          </a:p>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Navigation is not by default</a:t>
            </a:r>
            <a:endParaRPr lang="en-US" sz="2400" dirty="0">
              <a:gradFill>
                <a:gsLst>
                  <a:gs pos="2917">
                    <a:schemeClr val="tx1"/>
                  </a:gs>
                  <a:gs pos="30000">
                    <a:schemeClr val="tx1"/>
                  </a:gs>
                </a:gsLst>
                <a:lin ang="5400000" scaled="0"/>
              </a:gradFill>
              <a:cs typeface="Segoe UI"/>
            </a:endParaRPr>
          </a:p>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Limitations on searches:</a:t>
            </a:r>
            <a:endParaRPr lang="en-US" sz="2400" dirty="0">
              <a:gradFill>
                <a:gsLst>
                  <a:gs pos="2917">
                    <a:schemeClr val="tx1"/>
                  </a:gs>
                  <a:gs pos="30000">
                    <a:schemeClr val="tx1"/>
                  </a:gs>
                </a:gsLst>
                <a:lin ang="5400000" scaled="0"/>
              </a:gradFill>
              <a:cs typeface="Segoe UI"/>
            </a:endParaRPr>
          </a:p>
          <a:p>
            <a:pPr marL="923290" lvl="1" indent="-457200">
              <a:lnSpc>
                <a:spcPct val="90000"/>
              </a:lnSpc>
              <a:spcAft>
                <a:spcPts val="1000"/>
              </a:spcAft>
              <a:buAutoNum type="arabicPeriod"/>
            </a:pPr>
            <a:r>
              <a:rPr lang="en-US" sz="2400" dirty="0">
                <a:gradFill>
                  <a:gsLst>
                    <a:gs pos="2917">
                      <a:schemeClr val="tx1"/>
                    </a:gs>
                    <a:gs pos="30000">
                      <a:schemeClr val="tx1"/>
                    </a:gs>
                  </a:gsLst>
                  <a:lin ang="5400000" scaled="0"/>
                </a:gradFill>
              </a:rPr>
              <a:t>People 15 results</a:t>
            </a:r>
            <a:endParaRPr lang="en-US" sz="2400" dirty="0">
              <a:gradFill>
                <a:gsLst>
                  <a:gs pos="2917">
                    <a:schemeClr val="tx1"/>
                  </a:gs>
                  <a:gs pos="30000">
                    <a:schemeClr val="tx1"/>
                  </a:gs>
                </a:gsLst>
                <a:lin ang="5400000" scaled="0"/>
              </a:gradFill>
              <a:cs typeface="Segoe UI"/>
            </a:endParaRPr>
          </a:p>
          <a:p>
            <a:pPr marL="923290" lvl="1" indent="-457200">
              <a:lnSpc>
                <a:spcPct val="90000"/>
              </a:lnSpc>
              <a:spcAft>
                <a:spcPts val="1000"/>
              </a:spcAft>
              <a:buAutoNum type="arabicPeriod"/>
            </a:pPr>
            <a:r>
              <a:rPr lang="en-US" sz="2400" dirty="0">
                <a:gradFill>
                  <a:gsLst>
                    <a:gs pos="2917">
                      <a:schemeClr val="tx1"/>
                    </a:gs>
                    <a:gs pos="30000">
                      <a:schemeClr val="tx1"/>
                    </a:gs>
                  </a:gsLst>
                  <a:lin ang="5400000" scaled="0"/>
                </a:gradFill>
              </a:rPr>
              <a:t>Rooms 20 results</a:t>
            </a:r>
            <a:endParaRPr lang="en-US" sz="2400" dirty="0">
              <a:gradFill>
                <a:gsLst>
                  <a:gs pos="2917">
                    <a:schemeClr val="tx1"/>
                  </a:gs>
                  <a:gs pos="30000">
                    <a:schemeClr val="tx1"/>
                  </a:gs>
                </a:gsLst>
                <a:lin ang="5400000" scaled="0"/>
              </a:gradFill>
              <a:cs typeface="Segoe UI"/>
            </a:endParaRPr>
          </a:p>
        </p:txBody>
      </p:sp>
      <p:pic>
        <p:nvPicPr>
          <p:cNvPr id="6" name="Picture 5">
            <a:extLst>
              <a:ext uri="{FF2B5EF4-FFF2-40B4-BE49-F238E27FC236}">
                <a16:creationId xmlns:a16="http://schemas.microsoft.com/office/drawing/2014/main" id="{171ACD72-3FCC-49DE-861D-48A1E8FC2522}"/>
              </a:ext>
            </a:extLst>
          </p:cNvPr>
          <p:cNvPicPr>
            <a:picLocks noChangeAspect="1"/>
          </p:cNvPicPr>
          <p:nvPr/>
        </p:nvPicPr>
        <p:blipFill>
          <a:blip r:embed="rId4"/>
          <a:stretch>
            <a:fillRect/>
          </a:stretch>
        </p:blipFill>
        <p:spPr>
          <a:xfrm>
            <a:off x="2941637" y="1220599"/>
            <a:ext cx="4495800" cy="5248108"/>
          </a:xfrm>
          <a:prstGeom prst="rect">
            <a:avLst/>
          </a:prstGeom>
        </p:spPr>
      </p:pic>
    </p:spTree>
    <p:extLst>
      <p:ext uri="{BB962C8B-B14F-4D97-AF65-F5344CB8AC3E}">
        <p14:creationId xmlns:p14="http://schemas.microsoft.com/office/powerpoint/2010/main" val="1875027611"/>
      </p:ext>
    </p:extLst>
  </p:cSld>
  <p:clrMapOvr>
    <a:masterClrMapping/>
  </p:clrMapOvr>
  <p:transition>
    <p:fade/>
  </p:transition>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8D7"/>
                </a:solidFill>
                <a:cs typeface="Segoe UI"/>
              </a:rPr>
              <a:t>Working with screens</a:t>
            </a:r>
          </a:p>
        </p:txBody>
      </p:sp>
      <p:sp>
        <p:nvSpPr>
          <p:cNvPr id="3" name="Text Placeholder 2"/>
          <p:cNvSpPr>
            <a:spLocks noGrp="1"/>
          </p:cNvSpPr>
          <p:nvPr>
            <p:ph type="body" sz="quarter" idx="10"/>
          </p:nvPr>
        </p:nvSpPr>
        <p:spPr>
          <a:xfrm>
            <a:off x="6675436" y="1212850"/>
            <a:ext cx="5486401" cy="3913892"/>
          </a:xfrm>
        </p:spPr>
        <p:txBody>
          <a:bodyPr vert="horz" wrap="square" lIns="146304" tIns="91440" rIns="146304" bIns="91440" rtlCol="0" anchor="t">
            <a:spAutoFit/>
          </a:bodyPr>
          <a:lstStyle/>
          <a:p>
            <a:pPr>
              <a:spcAft>
                <a:spcPts val="1000"/>
              </a:spcAft>
            </a:pPr>
            <a:r>
              <a:rPr lang="en-US" dirty="0"/>
              <a:t>Add multiple screens and name them. The name becomes a global variable.</a:t>
            </a:r>
          </a:p>
          <a:p>
            <a:pPr>
              <a:spcAft>
                <a:spcPts val="1000"/>
              </a:spcAft>
            </a:pPr>
            <a:r>
              <a:rPr lang="en-US" dirty="0"/>
              <a:t>Pass context between screens as a parameter to these formulas.</a:t>
            </a:r>
          </a:p>
        </p:txBody>
      </p:sp>
      <p:pic>
        <p:nvPicPr>
          <p:cNvPr id="8" name="Picture 7">
            <a:extLst>
              <a:ext uri="{FF2B5EF4-FFF2-40B4-BE49-F238E27FC236}">
                <a16:creationId xmlns:a16="http://schemas.microsoft.com/office/drawing/2014/main" id="{56AA8ADE-D359-43F3-B43D-3750A1A740DB}"/>
              </a:ext>
            </a:extLst>
          </p:cNvPr>
          <p:cNvPicPr>
            <a:picLocks noChangeAspect="1"/>
          </p:cNvPicPr>
          <p:nvPr/>
        </p:nvPicPr>
        <p:blipFill rotWithShape="1">
          <a:blip r:embed="rId3"/>
          <a:srcRect b="55223"/>
          <a:stretch/>
        </p:blipFill>
        <p:spPr>
          <a:xfrm>
            <a:off x="239345" y="1299910"/>
            <a:ext cx="4697406" cy="3949951"/>
          </a:xfrm>
          <a:prstGeom prst="rect">
            <a:avLst/>
          </a:prstGeom>
        </p:spPr>
      </p:pic>
      <p:cxnSp>
        <p:nvCxnSpPr>
          <p:cNvPr id="10" name="Straight Arrow Connector 9">
            <a:extLst>
              <a:ext uri="{FF2B5EF4-FFF2-40B4-BE49-F238E27FC236}">
                <a16:creationId xmlns:a16="http://schemas.microsoft.com/office/drawing/2014/main" id="{D4089F4F-C8BD-4415-9100-4E32CFEF1135}"/>
              </a:ext>
            </a:extLst>
          </p:cNvPr>
          <p:cNvCxnSpPr>
            <a:cxnSpLocks/>
          </p:cNvCxnSpPr>
          <p:nvPr/>
        </p:nvCxnSpPr>
        <p:spPr>
          <a:xfrm flipH="1">
            <a:off x="1874837" y="1599141"/>
            <a:ext cx="1447800" cy="60272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5" name="Straight Arrow Connector 14">
            <a:extLst>
              <a:ext uri="{FF2B5EF4-FFF2-40B4-BE49-F238E27FC236}">
                <a16:creationId xmlns:a16="http://schemas.microsoft.com/office/drawing/2014/main" id="{F0DC2181-B674-479F-9430-4010D7FD279D}"/>
              </a:ext>
            </a:extLst>
          </p:cNvPr>
          <p:cNvCxnSpPr>
            <a:cxnSpLocks/>
          </p:cNvCxnSpPr>
          <p:nvPr/>
        </p:nvCxnSpPr>
        <p:spPr>
          <a:xfrm flipH="1">
            <a:off x="3098531" y="3603623"/>
            <a:ext cx="1616159" cy="655639"/>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0100D45F-A59F-4E92-9545-CB34876B1CDB}"/>
              </a:ext>
            </a:extLst>
          </p:cNvPr>
          <p:cNvCxnSpPr>
            <a:cxnSpLocks/>
          </p:cNvCxnSpPr>
          <p:nvPr/>
        </p:nvCxnSpPr>
        <p:spPr>
          <a:xfrm flipH="1">
            <a:off x="2982727" y="3603623"/>
            <a:ext cx="1725006" cy="187853"/>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67484817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4B92-848E-480F-8384-79A57D71BCD8}"/>
              </a:ext>
            </a:extLst>
          </p:cNvPr>
          <p:cNvSpPr>
            <a:spLocks noGrp="1"/>
          </p:cNvSpPr>
          <p:nvPr>
            <p:ph type="title"/>
          </p:nvPr>
        </p:nvSpPr>
        <p:spPr>
          <a:xfrm>
            <a:off x="215646" y="301173"/>
            <a:ext cx="11889564" cy="917575"/>
          </a:xfrm>
        </p:spPr>
        <p:txBody>
          <a:bodyPr/>
          <a:lstStyle/>
          <a:p>
            <a:r>
              <a:rPr lang="en-US" dirty="0"/>
              <a:t>Making an App Responsive</a:t>
            </a:r>
          </a:p>
        </p:txBody>
      </p:sp>
      <p:sp>
        <p:nvSpPr>
          <p:cNvPr id="3" name="Text Placeholder 2">
            <a:extLst>
              <a:ext uri="{FF2B5EF4-FFF2-40B4-BE49-F238E27FC236}">
                <a16:creationId xmlns:a16="http://schemas.microsoft.com/office/drawing/2014/main" id="{B8F46143-5C89-4244-BF92-8DBFC15A92D5}"/>
              </a:ext>
            </a:extLst>
          </p:cNvPr>
          <p:cNvSpPr>
            <a:spLocks noGrp="1"/>
          </p:cNvSpPr>
          <p:nvPr>
            <p:ph type="body" sz="quarter" idx="10"/>
          </p:nvPr>
        </p:nvSpPr>
        <p:spPr>
          <a:xfrm>
            <a:off x="215645" y="1826392"/>
            <a:ext cx="3662242" cy="3674852"/>
          </a:xfrm>
        </p:spPr>
        <p:txBody>
          <a:bodyPr vert="horz" wrap="square" lIns="146304" tIns="91440" rIns="146304" bIns="91440" rtlCol="0" anchor="t">
            <a:spAutoFit/>
          </a:bodyPr>
          <a:lstStyle/>
          <a:p>
            <a:r>
              <a:rPr lang="en-US" dirty="0">
                <a:ea typeface="+mj-lt"/>
                <a:cs typeface="+mj-lt"/>
              </a:rPr>
              <a:t>You activate responsiveness by turning off the app's </a:t>
            </a:r>
            <a:r>
              <a:rPr lang="en-US" b="1" dirty="0">
                <a:ea typeface="+mj-lt"/>
                <a:cs typeface="+mj-lt"/>
              </a:rPr>
              <a:t>Scale to fit</a:t>
            </a:r>
            <a:r>
              <a:rPr lang="en-US" dirty="0">
                <a:ea typeface="+mj-lt"/>
                <a:cs typeface="+mj-lt"/>
              </a:rPr>
              <a:t> setting, which is on by default</a:t>
            </a:r>
            <a:endParaRPr lang="en-US" dirty="0"/>
          </a:p>
        </p:txBody>
      </p:sp>
      <p:pic>
        <p:nvPicPr>
          <p:cNvPr id="4" name="Picture 4" descr="Graphical user interface, text, application&#10;&#10;Description automatically generated">
            <a:extLst>
              <a:ext uri="{FF2B5EF4-FFF2-40B4-BE49-F238E27FC236}">
                <a16:creationId xmlns:a16="http://schemas.microsoft.com/office/drawing/2014/main" id="{70863F81-7F42-4F16-8AA0-418FA697D174}"/>
              </a:ext>
            </a:extLst>
          </p:cNvPr>
          <p:cNvPicPr>
            <a:picLocks noChangeAspect="1"/>
          </p:cNvPicPr>
          <p:nvPr/>
        </p:nvPicPr>
        <p:blipFill>
          <a:blip r:embed="rId3"/>
          <a:stretch>
            <a:fillRect/>
          </a:stretch>
        </p:blipFill>
        <p:spPr>
          <a:xfrm>
            <a:off x="4044546" y="1518539"/>
            <a:ext cx="8285518" cy="4801134"/>
          </a:xfrm>
          <a:prstGeom prst="rect">
            <a:avLst/>
          </a:prstGeom>
        </p:spPr>
      </p:pic>
      <p:sp>
        <p:nvSpPr>
          <p:cNvPr id="5" name="Oval 4">
            <a:extLst>
              <a:ext uri="{FF2B5EF4-FFF2-40B4-BE49-F238E27FC236}">
                <a16:creationId xmlns:a16="http://schemas.microsoft.com/office/drawing/2014/main" id="{31269B71-C73C-4E86-95BF-7554DAFC4236}"/>
              </a:ext>
            </a:extLst>
          </p:cNvPr>
          <p:cNvSpPr/>
          <p:nvPr/>
        </p:nvSpPr>
        <p:spPr bwMode="auto">
          <a:xfrm>
            <a:off x="6699033" y="2202424"/>
            <a:ext cx="1888304" cy="418586"/>
          </a:xfrm>
          <a:prstGeom prst="ellipse">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2854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dirty="0">
                <a:solidFill>
                  <a:schemeClr val="tx1">
                    <a:lumMod val="85000"/>
                    <a:lumOff val="15000"/>
                  </a:schemeClr>
                </a:solidFill>
                <a:latin typeface="+mj-lt"/>
                <a:ea typeface="+mj-ea"/>
                <a:cs typeface="+mj-cs"/>
              </a:rPr>
              <a:t>Navigation</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7573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AF14D-3921-4BE1-AE69-9F95C287E4D8}"/>
              </a:ext>
            </a:extLst>
          </p:cNvPr>
          <p:cNvSpPr>
            <a:spLocks noGrp="1"/>
          </p:cNvSpPr>
          <p:nvPr>
            <p:ph type="title"/>
          </p:nvPr>
        </p:nvSpPr>
        <p:spPr/>
        <p:txBody>
          <a:bodyPr/>
          <a:lstStyle/>
          <a:p>
            <a:r>
              <a:rPr lang="en-US" dirty="0">
                <a:solidFill>
                  <a:srgbClr val="0078D7"/>
                </a:solidFill>
                <a:cs typeface="Segoe UI"/>
              </a:rPr>
              <a:t>Navigate between screens</a:t>
            </a:r>
          </a:p>
        </p:txBody>
      </p:sp>
      <p:sp>
        <p:nvSpPr>
          <p:cNvPr id="3" name="Text Placeholder 2">
            <a:extLst>
              <a:ext uri="{FF2B5EF4-FFF2-40B4-BE49-F238E27FC236}">
                <a16:creationId xmlns:a16="http://schemas.microsoft.com/office/drawing/2014/main" id="{3DC10D10-E8DD-447D-9E1B-B50109ECBD94}"/>
              </a:ext>
            </a:extLst>
          </p:cNvPr>
          <p:cNvSpPr>
            <a:spLocks noGrp="1"/>
          </p:cNvSpPr>
          <p:nvPr>
            <p:ph type="body" sz="quarter" idx="10"/>
          </p:nvPr>
        </p:nvSpPr>
        <p:spPr>
          <a:xfrm>
            <a:off x="7208836" y="1212850"/>
            <a:ext cx="5227639" cy="5389168"/>
          </a:xfrm>
        </p:spPr>
        <p:txBody>
          <a:bodyPr vert="horz" wrap="square" lIns="146304" tIns="91440" rIns="146304" bIns="91440" rtlCol="0" anchor="t">
            <a:spAutoFit/>
          </a:bodyPr>
          <a:lstStyle/>
          <a:p>
            <a:pPr>
              <a:spcAft>
                <a:spcPts val="1000"/>
              </a:spcAft>
            </a:pPr>
            <a:r>
              <a:rPr lang="en-US" dirty="0"/>
              <a:t>Navigate screens with Navigate() or Back() </a:t>
            </a:r>
            <a:r>
              <a:rPr lang="en-US"/>
              <a:t>formulas from controls.</a:t>
            </a:r>
            <a:endParaRPr lang="en-US" dirty="0">
              <a:cs typeface="Segoe UI Light"/>
            </a:endParaRPr>
          </a:p>
          <a:p>
            <a:pPr>
              <a:spcAft>
                <a:spcPts val="1000"/>
              </a:spcAft>
            </a:pPr>
            <a:r>
              <a:rPr lang="en-US" dirty="0"/>
              <a:t>You can always get the current screen with </a:t>
            </a:r>
            <a:r>
              <a:rPr lang="en-US"/>
              <a:t>App.ActiveScreen.</a:t>
            </a:r>
            <a:endParaRPr lang="en-US">
              <a:cs typeface="Segoe UI Light"/>
            </a:endParaRPr>
          </a:p>
          <a:p>
            <a:pPr>
              <a:spcAft>
                <a:spcPts val="1000"/>
              </a:spcAft>
            </a:pPr>
            <a:r>
              <a:rPr lang="en-US" dirty="0"/>
              <a:t>Back() works like the Back button in Android</a:t>
            </a:r>
            <a:endParaRPr lang="en-US" dirty="0">
              <a:cs typeface="Segoe UI Light"/>
            </a:endParaRPr>
          </a:p>
          <a:p>
            <a:pPr marL="0" indent="0">
              <a:buNone/>
            </a:pPr>
            <a:endParaRPr lang="en-US" dirty="0"/>
          </a:p>
        </p:txBody>
      </p:sp>
      <p:pic>
        <p:nvPicPr>
          <p:cNvPr id="7" name="Picture 6">
            <a:extLst>
              <a:ext uri="{FF2B5EF4-FFF2-40B4-BE49-F238E27FC236}">
                <a16:creationId xmlns:a16="http://schemas.microsoft.com/office/drawing/2014/main" id="{8CDC37C5-DCFD-4637-8B75-30E490F45A3A}"/>
              </a:ext>
            </a:extLst>
          </p:cNvPr>
          <p:cNvPicPr>
            <a:picLocks noChangeAspect="1"/>
          </p:cNvPicPr>
          <p:nvPr/>
        </p:nvPicPr>
        <p:blipFill>
          <a:blip r:embed="rId3"/>
          <a:stretch>
            <a:fillRect/>
          </a:stretch>
        </p:blipFill>
        <p:spPr>
          <a:xfrm>
            <a:off x="274639" y="1592262"/>
            <a:ext cx="6890826" cy="2679385"/>
          </a:xfrm>
          <a:prstGeom prst="rect">
            <a:avLst/>
          </a:prstGeom>
        </p:spPr>
      </p:pic>
      <p:cxnSp>
        <p:nvCxnSpPr>
          <p:cNvPr id="9" name="Straight Arrow Connector 8">
            <a:extLst>
              <a:ext uri="{FF2B5EF4-FFF2-40B4-BE49-F238E27FC236}">
                <a16:creationId xmlns:a16="http://schemas.microsoft.com/office/drawing/2014/main" id="{FA025D87-0327-4464-8787-0566AB16D0D3}"/>
              </a:ext>
            </a:extLst>
          </p:cNvPr>
          <p:cNvCxnSpPr>
            <a:cxnSpLocks/>
          </p:cNvCxnSpPr>
          <p:nvPr/>
        </p:nvCxnSpPr>
        <p:spPr>
          <a:xfrm>
            <a:off x="1036637" y="2192776"/>
            <a:ext cx="2514600" cy="0"/>
          </a:xfrm>
          <a:prstGeom prst="straightConnector1">
            <a:avLst/>
          </a:prstGeom>
          <a:ln w="88900">
            <a:solidFill>
              <a:schemeClr val="accent2">
                <a:alpha val="41000"/>
              </a:schemeClr>
            </a:solidFill>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8514425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2"/>
            <p:custDataLst>
              <p:tags r:id="rId1"/>
            </p:custDataLst>
          </p:nvPr>
        </p:nvSpPr>
        <p:spPr>
          <a:xfrm>
            <a:off x="274638" y="2540407"/>
            <a:ext cx="5486401" cy="4185761"/>
          </a:xfrm>
        </p:spPr>
        <p:txBody>
          <a:bodyPr/>
          <a:lstStyle>
            <a:lvl1pPr marL="342900" marR="0" indent="-342900" algn="l" defTabSz="932742" rtl="0" eaLnBrk="1" fontAlgn="auto" latinLnBrk="0" hangingPunct="1">
              <a:buClrTx/>
              <a:buSzPct val="90000"/>
              <a:buFont typeface="Arial" pitchFamily="34" charset="0"/>
              <a:buChar char="•"/>
            </a:lvl1pPr>
            <a:lvl2pPr marL="584200" marR="0" indent="-241300" algn="l" defTabSz="932742" rtl="0" eaLnBrk="1" fontAlgn="auto" latinLnBrk="0" hangingPunct="1">
              <a:buClrTx/>
              <a:buSzPct val="90000"/>
              <a:buFont typeface="Arial" pitchFamily="34" charset="0"/>
              <a:buChar char="•"/>
            </a:lvl2pPr>
            <a:lvl3pPr marL="800100" marR="0" indent="-228600" algn="l" defTabSz="932742" rtl="0" eaLnBrk="1" fontAlgn="auto" latinLnBrk="0" hangingPunct="1">
              <a:buClrTx/>
              <a:buSzPct val="90000"/>
              <a:buFont typeface="Arial" pitchFamily="34" charset="0"/>
              <a:buChar char="•"/>
            </a:lvl3pPr>
            <a:lvl4pPr marL="1028700" marR="0" indent="-228600" algn="l" defTabSz="932742" rtl="0" eaLnBrk="1" fontAlgn="auto" latinLnBrk="0" hangingPunct="1">
              <a:buClrTx/>
              <a:buSzPct val="90000"/>
              <a:buFont typeface="Arial" pitchFamily="34" charset="0"/>
              <a:buChar char="•"/>
            </a:lvl4pPr>
            <a:lvl5pPr marL="1257300" marR="0" indent="-228600" algn="l" defTabSz="932742" rtl="0" eaLnBrk="1" fontAlgn="auto" latinLnBrk="0" hangingPunct="1">
              <a:buClrTx/>
              <a:buSzPct val="90000"/>
              <a:buFont typeface="Arial" pitchFamily="34" charset="0"/>
              <a:buChar char="•"/>
            </a:lvl5pPr>
            <a:lvl6pPr marL="2565040" indent="-233186" algn="l" defTabSz="932742" rtl="0" eaLnBrk="1" latinLnBrk="0" hangingPunct="1">
              <a:buFont typeface="Arial" pitchFamily="34" charset="0"/>
              <a:buChar char="•"/>
            </a:lvl6pPr>
            <a:lvl7pPr marL="3031412" indent="-233186" algn="l" defTabSz="932742" rtl="0" eaLnBrk="1" latinLnBrk="0" hangingPunct="1">
              <a:buFont typeface="Arial" pitchFamily="34" charset="0"/>
              <a:buChar char="•"/>
            </a:lvl7pPr>
            <a:lvl8pPr marL="3497783" indent="-233186" algn="l" defTabSz="932742" rtl="0" eaLnBrk="1" latinLnBrk="0" hangingPunct="1">
              <a:buFont typeface="Arial" pitchFamily="34" charset="0"/>
              <a:buChar char="•"/>
            </a:lvl8pPr>
            <a:lvl9pPr marL="3964155" indent="-233186" algn="l" defTabSz="932742" rtl="0" eaLnBrk="1" latinLnBrk="0" hangingPunct="1">
              <a:buFont typeface="Arial" pitchFamily="34" charset="0"/>
              <a:buChar char="•"/>
            </a:lvl9pPr>
          </a:lstStyle>
          <a:p>
            <a:pPr>
              <a:buNone/>
            </a:pPr>
            <a:r>
              <a:rPr lang="en-US" sz="2000" dirty="0">
                <a:latin typeface="+mn-lt"/>
              </a:rPr>
              <a:t>Objectives </a:t>
            </a:r>
          </a:p>
          <a:p>
            <a:pPr>
              <a:buNone/>
            </a:pPr>
            <a:r>
              <a:rPr lang="en-US" sz="2000" b="0" dirty="0">
                <a:latin typeface="+mn-lt"/>
              </a:rPr>
              <a:t>After completing this lab, you will be able to:</a:t>
            </a:r>
          </a:p>
          <a:p>
            <a:r>
              <a:rPr lang="en-US" sz="2000" b="0" dirty="0">
                <a:latin typeface="+mn-lt"/>
              </a:rPr>
              <a:t>Rename screens in Power Apps Studio.</a:t>
            </a:r>
          </a:p>
          <a:p>
            <a:r>
              <a:rPr lang="en-US" sz="2000" b="0" dirty="0">
                <a:latin typeface="+mn-lt"/>
              </a:rPr>
              <a:t>Add and manipulate the label control in Power Apps Studio.</a:t>
            </a:r>
          </a:p>
          <a:p>
            <a:pPr marL="0" indent="0">
              <a:buNone/>
            </a:pPr>
            <a:endParaRPr lang="en-US" sz="2000" b="0" dirty="0">
              <a:latin typeface="+mn-lt"/>
            </a:endParaRPr>
          </a:p>
          <a:p>
            <a:pPr marL="0" indent="0">
              <a:buNone/>
            </a:pPr>
            <a:r>
              <a:rPr lang="en-US" sz="2000" dirty="0">
                <a:latin typeface="+mn-lt"/>
              </a:rPr>
              <a:t>Scenario</a:t>
            </a:r>
            <a:r>
              <a:rPr lang="en-US" sz="2000" b="0" dirty="0">
                <a:latin typeface="+mn-lt"/>
              </a:rPr>
              <a:t> </a:t>
            </a:r>
          </a:p>
          <a:p>
            <a:pPr marL="0" indent="0">
              <a:buNone/>
            </a:pPr>
            <a:r>
              <a:rPr lang="en-US" sz="2000" b="0" dirty="0">
                <a:latin typeface="+mn-lt"/>
              </a:rPr>
              <a:t>The organization wishes to build apps using the Power Apps platform to take advantage of No Code/Low Code application development in the cloud. As part of this effort, you are required to use PowerApps Studio and manipulate different screens and controls.</a:t>
            </a:r>
          </a:p>
        </p:txBody>
      </p:sp>
      <p:sp>
        <p:nvSpPr>
          <p:cNvPr id="5" name="Title 2">
            <a:extLst>
              <a:ext uri="{FF2B5EF4-FFF2-40B4-BE49-F238E27FC236}">
                <a16:creationId xmlns:a16="http://schemas.microsoft.com/office/drawing/2014/main" id="{CCD53B05-DBF9-455D-8DE1-8FA8E65E9678}"/>
              </a:ext>
            </a:extLst>
          </p:cNvPr>
          <p:cNvSpPr txBox="1">
            <a:spLocks/>
          </p:cNvSpPr>
          <p:nvPr/>
        </p:nvSpPr>
        <p:spPr>
          <a:xfrm>
            <a:off x="1570037" y="361349"/>
            <a:ext cx="4800600" cy="2179058"/>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4800" b="0" kern="1200" cap="none" spc="-102" baseline="0">
                <a:ln w="3175">
                  <a:noFill/>
                </a:ln>
                <a:solidFill>
                  <a:schemeClr val="accent3"/>
                </a:solidFill>
                <a:effectLst/>
                <a:latin typeface="+mj-lt"/>
                <a:ea typeface="+mn-ea"/>
                <a:cs typeface="Segoe UI" pitchFamily="34" charset="0"/>
              </a:defRPr>
            </a:lvl1pPr>
          </a:lstStyle>
          <a:p>
            <a:r>
              <a:rPr lang="en-US" dirty="0"/>
              <a:t>Configuring screens and controls</a:t>
            </a:r>
          </a:p>
        </p:txBody>
      </p:sp>
    </p:spTree>
    <p:extLst>
      <p:ext uri="{BB962C8B-B14F-4D97-AF65-F5344CB8AC3E}">
        <p14:creationId xmlns:p14="http://schemas.microsoft.com/office/powerpoint/2010/main" val="17969222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10681A-0D45-41F6-BE85-00C7915E7027}"/>
              </a:ext>
            </a:extLst>
          </p:cNvPr>
          <p:cNvSpPr>
            <a:spLocks noGrp="1"/>
          </p:cNvSpPr>
          <p:nvPr>
            <p:ph type="body" sz="quarter" idx="10"/>
          </p:nvPr>
        </p:nvSpPr>
        <p:spPr>
          <a:xfrm>
            <a:off x="274320" y="1211262"/>
            <a:ext cx="11734800" cy="3619452"/>
          </a:xfrm>
        </p:spPr>
        <p:txBody>
          <a:bodyPr vert="horz" wrap="square" lIns="146304" tIns="91440" rIns="146304" bIns="91440" rtlCol="0" anchor="t">
            <a:spAutoFit/>
          </a:bodyPr>
          <a:lstStyle/>
          <a:p>
            <a:pPr marL="0" indent="0">
              <a:buNone/>
            </a:pPr>
            <a:r>
              <a:rPr lang="en-US" dirty="0"/>
              <a:t>1. Name 2 ways to create a Power Apps app for SharePoint.</a:t>
            </a:r>
          </a:p>
          <a:p>
            <a:pPr>
              <a:buFont typeface="Arial"/>
              <a:buChar char="•"/>
            </a:pPr>
            <a:r>
              <a:rPr lang="en-US" dirty="0"/>
              <a:t>Starting from data (in SharePoint), Power Apps Studio (starting from scratch)</a:t>
            </a:r>
            <a:endParaRPr lang="en-US" dirty="0">
              <a:cs typeface="Segoe UI Light"/>
            </a:endParaRPr>
          </a:p>
          <a:p>
            <a:pPr marL="742950" indent="-742950">
              <a:buAutoNum type="alphaUcPeriod"/>
            </a:pPr>
            <a:endParaRPr lang="en-US" dirty="0"/>
          </a:p>
          <a:p>
            <a:pPr marL="0" indent="0">
              <a:buNone/>
            </a:pPr>
            <a:r>
              <a:rPr lang="en-US" dirty="0"/>
              <a:t>2. Name the connection types.</a:t>
            </a:r>
          </a:p>
          <a:p>
            <a:r>
              <a:rPr lang="en-US" dirty="0"/>
              <a:t>Standard &amp; Premium</a:t>
            </a:r>
            <a:endParaRPr lang="en-US" dirty="0">
              <a:cs typeface="Segoe UI Light"/>
            </a:endParaRPr>
          </a:p>
        </p:txBody>
      </p:sp>
    </p:spTree>
    <p:extLst>
      <p:ext uri="{BB962C8B-B14F-4D97-AF65-F5344CB8AC3E}">
        <p14:creationId xmlns:p14="http://schemas.microsoft.com/office/powerpoint/2010/main" val="3486571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48139" y="294677"/>
            <a:ext cx="11887454" cy="471159"/>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369032384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598909-3B90-499E-8CA4-0A9CCE082183}"/>
              </a:ext>
            </a:extLst>
          </p:cNvPr>
          <p:cNvSpPr>
            <a:spLocks noGrp="1"/>
          </p:cNvSpPr>
          <p:nvPr>
            <p:ph type="body" sz="quarter" idx="10"/>
          </p:nvPr>
        </p:nvSpPr>
        <p:spPr>
          <a:xfrm>
            <a:off x="274320" y="1211262"/>
            <a:ext cx="11734800" cy="1902059"/>
          </a:xfrm>
        </p:spPr>
        <p:txBody>
          <a:bodyPr/>
          <a:lstStyle/>
          <a:p>
            <a:r>
              <a:rPr lang="en-US" dirty="0"/>
              <a:t>Connector overview</a:t>
            </a:r>
          </a:p>
          <a:p>
            <a:r>
              <a:rPr lang="en-US" dirty="0"/>
              <a:t>Screens</a:t>
            </a:r>
          </a:p>
          <a:p>
            <a:r>
              <a:rPr lang="en-US" dirty="0"/>
              <a:t>Navigation</a:t>
            </a:r>
          </a:p>
        </p:txBody>
      </p:sp>
    </p:spTree>
    <p:extLst>
      <p:ext uri="{BB962C8B-B14F-4D97-AF65-F5344CB8AC3E}">
        <p14:creationId xmlns:p14="http://schemas.microsoft.com/office/powerpoint/2010/main" val="20046539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85236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6666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dule Overview</a:t>
            </a:r>
          </a:p>
        </p:txBody>
      </p:sp>
      <p:sp>
        <p:nvSpPr>
          <p:cNvPr id="2" name="Text Placeholder 1">
            <a:extLst>
              <a:ext uri="{FF2B5EF4-FFF2-40B4-BE49-F238E27FC236}">
                <a16:creationId xmlns:a16="http://schemas.microsoft.com/office/drawing/2014/main" id="{5338C6D7-95C5-409E-9F00-EA69F550067E}"/>
              </a:ext>
            </a:extLst>
          </p:cNvPr>
          <p:cNvSpPr>
            <a:spLocks noGrp="1"/>
          </p:cNvSpPr>
          <p:nvPr>
            <p:ph type="body" sz="quarter" idx="11"/>
          </p:nvPr>
        </p:nvSpPr>
        <p:spPr>
          <a:xfrm>
            <a:off x="272272" y="1211263"/>
            <a:ext cx="11887200" cy="3120854"/>
          </a:xfrm>
        </p:spPr>
        <p:txBody>
          <a:bodyPr/>
          <a:lstStyle/>
          <a:p>
            <a:r>
              <a:rPr lang="en-US" dirty="0"/>
              <a:t>Connector overview</a:t>
            </a:r>
          </a:p>
          <a:p>
            <a:r>
              <a:rPr lang="en-US" dirty="0"/>
              <a:t>Screens</a:t>
            </a:r>
          </a:p>
          <a:p>
            <a:r>
              <a:rPr lang="en-US" dirty="0"/>
              <a:t>Navigation</a:t>
            </a:r>
          </a:p>
          <a:p>
            <a:endParaRPr lang="en-US" dirty="0"/>
          </a:p>
          <a:p>
            <a:endParaRPr lang="en-US" dirty="0"/>
          </a:p>
        </p:txBody>
      </p:sp>
    </p:spTree>
    <p:extLst>
      <p:ext uri="{BB962C8B-B14F-4D97-AF65-F5344CB8AC3E}">
        <p14:creationId xmlns:p14="http://schemas.microsoft.com/office/powerpoint/2010/main" val="23992032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dirty="0">
                <a:solidFill>
                  <a:schemeClr val="tx1">
                    <a:lumMod val="85000"/>
                    <a:lumOff val="15000"/>
                  </a:schemeClr>
                </a:solidFill>
                <a:latin typeface="+mj-lt"/>
                <a:ea typeface="+mj-ea"/>
                <a:cs typeface="+mj-cs"/>
              </a:rPr>
              <a:t>Connectors</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8548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2888D511-49B9-40D5-B041-692A174B8BA2}"/>
              </a:ext>
            </a:extLst>
          </p:cNvPr>
          <p:cNvSpPr>
            <a:spLocks noGrp="1"/>
          </p:cNvSpPr>
          <p:nvPr>
            <p:ph type="title"/>
          </p:nvPr>
        </p:nvSpPr>
        <p:spPr>
          <a:xfrm>
            <a:off x="477546" y="229286"/>
            <a:ext cx="11531551" cy="664797"/>
          </a:xfrm>
        </p:spPr>
        <p:txBody>
          <a:bodyPr/>
          <a:lstStyle/>
          <a:p>
            <a:pPr>
              <a:lnSpc>
                <a:spcPct val="90000"/>
              </a:lnSpc>
            </a:pPr>
            <a:r>
              <a:rPr lang="en-US" sz="4800">
                <a:solidFill>
                  <a:srgbClr val="0078D7"/>
                </a:solidFill>
                <a:cs typeface="Segoe UI"/>
              </a:rPr>
              <a:t>Power Apps plans</a:t>
            </a:r>
          </a:p>
        </p:txBody>
      </p:sp>
      <p:sp>
        <p:nvSpPr>
          <p:cNvPr id="110" name="Rectangle 109">
            <a:extLst>
              <a:ext uri="{FF2B5EF4-FFF2-40B4-BE49-F238E27FC236}">
                <a16:creationId xmlns:a16="http://schemas.microsoft.com/office/drawing/2014/main" id="{2629A706-513A-4138-893D-9ACF81F62B38}"/>
              </a:ext>
            </a:extLst>
          </p:cNvPr>
          <p:cNvSpPr/>
          <p:nvPr/>
        </p:nvSpPr>
        <p:spPr bwMode="auto">
          <a:xfrm>
            <a:off x="4425105" y="1187134"/>
            <a:ext cx="3601096" cy="395362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115C0A0E-2816-413C-9968-14EE8C95EEDF}"/>
              </a:ext>
            </a:extLst>
          </p:cNvPr>
          <p:cNvSpPr/>
          <p:nvPr/>
        </p:nvSpPr>
        <p:spPr bwMode="auto">
          <a:xfrm>
            <a:off x="8240287" y="1187134"/>
            <a:ext cx="3601096" cy="395362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79F58BCD-3027-4D4C-AC57-96AAA7073688}"/>
              </a:ext>
            </a:extLst>
          </p:cNvPr>
          <p:cNvSpPr/>
          <p:nvPr/>
        </p:nvSpPr>
        <p:spPr bwMode="auto">
          <a:xfrm>
            <a:off x="595092" y="1187134"/>
            <a:ext cx="3601096" cy="395362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EB7A30E2-D588-4775-BF60-1CEF4F558854}"/>
              </a:ext>
            </a:extLst>
          </p:cNvPr>
          <p:cNvSpPr/>
          <p:nvPr/>
        </p:nvSpPr>
        <p:spPr>
          <a:xfrm>
            <a:off x="605825" y="2112583"/>
            <a:ext cx="3601096" cy="681171"/>
          </a:xfrm>
          <a:prstGeom prst="rect">
            <a:avLst/>
          </a:prstGeom>
        </p:spPr>
        <p:txBody>
          <a:bodyPr wrap="square" lIns="93260" anchor="t">
            <a:noAutofit/>
          </a:bodyPr>
          <a:lstStyle/>
          <a:p>
            <a:pPr defTabSz="932384">
              <a:spcAft>
                <a:spcPts val="408"/>
              </a:spcAft>
              <a:defRPr/>
            </a:pPr>
            <a:r>
              <a:rPr lang="en-US" sz="1632">
                <a:solidFill>
                  <a:srgbClr val="000000"/>
                </a:solidFill>
                <a:latin typeface="Segoe UI"/>
                <a:cs typeface="Segoe UI" panose="020B0502040204020203" pitchFamily="34" charset="0"/>
              </a:rPr>
              <a:t>Licensed by app</a:t>
            </a:r>
          </a:p>
          <a:p>
            <a:pPr defTabSz="932384">
              <a:spcAft>
                <a:spcPts val="408"/>
              </a:spcAft>
              <a:defRPr/>
            </a:pPr>
            <a:r>
              <a:rPr lang="en-US" sz="1632">
                <a:solidFill>
                  <a:srgbClr val="000000"/>
                </a:solidFill>
                <a:latin typeface="Segoe UI"/>
                <a:cs typeface="Segoe UI" panose="020B0502040204020203" pitchFamily="34" charset="0"/>
              </a:rPr>
              <a:t>$10 user/app/month</a:t>
            </a:r>
          </a:p>
        </p:txBody>
      </p:sp>
      <p:sp>
        <p:nvSpPr>
          <p:cNvPr id="114" name="Rectangle 113">
            <a:extLst>
              <a:ext uri="{FF2B5EF4-FFF2-40B4-BE49-F238E27FC236}">
                <a16:creationId xmlns:a16="http://schemas.microsoft.com/office/drawing/2014/main" id="{E9ED4FD3-5B34-4F88-BB76-DA7323C54F8B}"/>
              </a:ext>
            </a:extLst>
          </p:cNvPr>
          <p:cNvSpPr/>
          <p:nvPr/>
        </p:nvSpPr>
        <p:spPr>
          <a:xfrm>
            <a:off x="4425105" y="2112583"/>
            <a:ext cx="3601096" cy="681075"/>
          </a:xfrm>
          <a:prstGeom prst="rect">
            <a:avLst/>
          </a:prstGeom>
        </p:spPr>
        <p:txBody>
          <a:bodyPr wrap="square" lIns="93260" anchor="t">
            <a:noAutofit/>
          </a:bodyPr>
          <a:lstStyle/>
          <a:p>
            <a:pPr defTabSz="932384">
              <a:spcAft>
                <a:spcPts val="408"/>
              </a:spcAft>
              <a:defRPr/>
            </a:pPr>
            <a:r>
              <a:rPr lang="en-US" sz="1632">
                <a:solidFill>
                  <a:srgbClr val="000000"/>
                </a:solidFill>
                <a:latin typeface="Segoe UI"/>
                <a:cs typeface="Segoe UI" panose="020B0502040204020203" pitchFamily="34" charset="0"/>
              </a:rPr>
              <a:t>Licensed by user</a:t>
            </a:r>
          </a:p>
          <a:p>
            <a:pPr defTabSz="932384">
              <a:spcAft>
                <a:spcPts val="408"/>
              </a:spcAft>
              <a:defRPr/>
            </a:pPr>
            <a:r>
              <a:rPr lang="en-US" sz="1632">
                <a:solidFill>
                  <a:srgbClr val="000000"/>
                </a:solidFill>
                <a:latin typeface="Segoe UI"/>
                <a:cs typeface="Segoe UI" panose="020B0502040204020203" pitchFamily="34" charset="0"/>
              </a:rPr>
              <a:t>$40 user/month</a:t>
            </a:r>
          </a:p>
        </p:txBody>
      </p:sp>
      <p:sp>
        <p:nvSpPr>
          <p:cNvPr id="115" name="Rectangle 114">
            <a:extLst>
              <a:ext uri="{FF2B5EF4-FFF2-40B4-BE49-F238E27FC236}">
                <a16:creationId xmlns:a16="http://schemas.microsoft.com/office/drawing/2014/main" id="{11BD5124-A211-46FB-9437-15B27E6E1243}"/>
              </a:ext>
            </a:extLst>
          </p:cNvPr>
          <p:cNvSpPr/>
          <p:nvPr/>
        </p:nvSpPr>
        <p:spPr>
          <a:xfrm>
            <a:off x="8240287" y="2112583"/>
            <a:ext cx="3601096" cy="602609"/>
          </a:xfrm>
          <a:prstGeom prst="rect">
            <a:avLst/>
          </a:prstGeom>
        </p:spPr>
        <p:txBody>
          <a:bodyPr wrap="square" lIns="93260" anchor="t">
            <a:noAutofit/>
          </a:bodyPr>
          <a:lstStyle/>
          <a:p>
            <a:pPr defTabSz="932384">
              <a:spcAft>
                <a:spcPts val="408"/>
              </a:spcAft>
              <a:defRPr/>
            </a:pPr>
            <a:r>
              <a:rPr lang="en-US" sz="1632">
                <a:solidFill>
                  <a:srgbClr val="000000"/>
                </a:solidFill>
                <a:latin typeface="Segoe UI"/>
                <a:cs typeface="Segoe UI" panose="020B0502040204020203" pitchFamily="34" charset="0"/>
              </a:rPr>
              <a:t>Licensed through Office 365 &amp; Dynamics 365</a:t>
            </a:r>
          </a:p>
        </p:txBody>
      </p:sp>
      <p:cxnSp>
        <p:nvCxnSpPr>
          <p:cNvPr id="116" name="Straight Connector 115">
            <a:extLst>
              <a:ext uri="{FF2B5EF4-FFF2-40B4-BE49-F238E27FC236}">
                <a16:creationId xmlns:a16="http://schemas.microsoft.com/office/drawing/2014/main" id="{FC687D16-5755-4202-9728-312F1C736FFC}"/>
              </a:ext>
            </a:extLst>
          </p:cNvPr>
          <p:cNvCxnSpPr>
            <a:cxnSpLocks/>
          </p:cNvCxnSpPr>
          <p:nvPr/>
        </p:nvCxnSpPr>
        <p:spPr>
          <a:xfrm>
            <a:off x="595092" y="3005145"/>
            <a:ext cx="3601096"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117" name="Straight Connector 116">
            <a:extLst>
              <a:ext uri="{FF2B5EF4-FFF2-40B4-BE49-F238E27FC236}">
                <a16:creationId xmlns:a16="http://schemas.microsoft.com/office/drawing/2014/main" id="{5C11A417-AA5D-432D-A171-D2D3E924AB5C}"/>
              </a:ext>
            </a:extLst>
          </p:cNvPr>
          <p:cNvCxnSpPr>
            <a:cxnSpLocks/>
          </p:cNvCxnSpPr>
          <p:nvPr/>
        </p:nvCxnSpPr>
        <p:spPr>
          <a:xfrm>
            <a:off x="4425105" y="2964226"/>
            <a:ext cx="3601096"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118" name="Straight Connector 117">
            <a:extLst>
              <a:ext uri="{FF2B5EF4-FFF2-40B4-BE49-F238E27FC236}">
                <a16:creationId xmlns:a16="http://schemas.microsoft.com/office/drawing/2014/main" id="{B832CFC9-749E-44A9-B0DA-32D277F281EF}"/>
              </a:ext>
            </a:extLst>
          </p:cNvPr>
          <p:cNvCxnSpPr>
            <a:cxnSpLocks/>
          </p:cNvCxnSpPr>
          <p:nvPr/>
        </p:nvCxnSpPr>
        <p:spPr>
          <a:xfrm>
            <a:off x="8240287" y="2964226"/>
            <a:ext cx="3601096"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119" name="Rectangle 118">
            <a:extLst>
              <a:ext uri="{FF2B5EF4-FFF2-40B4-BE49-F238E27FC236}">
                <a16:creationId xmlns:a16="http://schemas.microsoft.com/office/drawing/2014/main" id="{A167763D-339D-45CF-B122-94C7D3597757}"/>
              </a:ext>
            </a:extLst>
          </p:cNvPr>
          <p:cNvSpPr/>
          <p:nvPr/>
        </p:nvSpPr>
        <p:spPr>
          <a:xfrm>
            <a:off x="703508" y="5203998"/>
            <a:ext cx="3492680" cy="320182"/>
          </a:xfrm>
          <a:prstGeom prst="rect">
            <a:avLst/>
          </a:prstGeom>
        </p:spPr>
        <p:txBody>
          <a:bodyPr wrap="square" lIns="0" tIns="0" rIns="0" bIns="0">
            <a:spAutoFit/>
          </a:bodyPr>
          <a:lstStyle/>
          <a:p>
            <a:pPr defTabSz="932384">
              <a:defRPr/>
            </a:pPr>
            <a:r>
              <a:rPr lang="en-US" sz="1020" kern="0" baseline="30000">
                <a:solidFill>
                  <a:srgbClr val="000000"/>
                </a:solidFill>
                <a:latin typeface="Segoe UI"/>
              </a:rPr>
              <a:t>1 </a:t>
            </a:r>
            <a:r>
              <a:rPr lang="en-US" sz="1020" kern="0">
                <a:solidFill>
                  <a:srgbClr val="000000"/>
                </a:solidFill>
                <a:latin typeface="Segoe UI"/>
              </a:rPr>
              <a:t>Power Apps per app plan entitles licensed user to run 2 apps (canvas and/or model driven) and 1 portal</a:t>
            </a:r>
          </a:p>
        </p:txBody>
      </p:sp>
      <p:sp>
        <p:nvSpPr>
          <p:cNvPr id="121" name="Rectangle 120">
            <a:extLst>
              <a:ext uri="{FF2B5EF4-FFF2-40B4-BE49-F238E27FC236}">
                <a16:creationId xmlns:a16="http://schemas.microsoft.com/office/drawing/2014/main" id="{FC2623DF-E1A5-4AD7-8372-2879C2C965C9}"/>
              </a:ext>
            </a:extLst>
          </p:cNvPr>
          <p:cNvSpPr/>
          <p:nvPr/>
        </p:nvSpPr>
        <p:spPr>
          <a:xfrm>
            <a:off x="605825" y="3216539"/>
            <a:ext cx="3601096" cy="1108079"/>
          </a:xfrm>
          <a:prstGeom prst="rect">
            <a:avLst/>
          </a:prstGeom>
        </p:spPr>
        <p:txBody>
          <a:bodyPr wrap="square" lIns="93260" tIns="0" bIns="0" anchor="t">
            <a:noAutofit/>
          </a:bodyPr>
          <a:lstStyle/>
          <a:p>
            <a:pPr marL="0" lvl="1" defTabSz="932384">
              <a:spcAft>
                <a:spcPts val="408"/>
              </a:spcAft>
              <a:defRPr/>
            </a:pPr>
            <a:r>
              <a:rPr lang="en-US" sz="1632">
                <a:solidFill>
                  <a:srgbClr val="000000"/>
                </a:solidFill>
                <a:latin typeface="Segoe UI"/>
                <a:cs typeface="Segoe UI" panose="020B0502040204020203" pitchFamily="34" charset="0"/>
              </a:rPr>
              <a:t>Allow individual users to run </a:t>
            </a:r>
            <a:r>
              <a:rPr lang="en-US" sz="1632">
                <a:solidFill>
                  <a:srgbClr val="000000"/>
                </a:solidFill>
                <a:latin typeface="Segoe UI Semibold"/>
                <a:cs typeface="Segoe UI" panose="020B0502040204020203" pitchFamily="34" charset="0"/>
              </a:rPr>
              <a:t>applications</a:t>
            </a:r>
            <a:r>
              <a:rPr lang="en-US" sz="1632" baseline="30000">
                <a:solidFill>
                  <a:srgbClr val="000000"/>
                </a:solidFill>
                <a:latin typeface="Segoe UI"/>
                <a:cs typeface="Segoe UI" panose="020B0502040204020203" pitchFamily="34" charset="0"/>
              </a:rPr>
              <a:t>1</a:t>
            </a:r>
            <a:r>
              <a:rPr lang="en-US" sz="1632">
                <a:solidFill>
                  <a:srgbClr val="000000"/>
                </a:solidFill>
                <a:latin typeface="Segoe UI"/>
                <a:cs typeface="Segoe UI" panose="020B0502040204020203" pitchFamily="34" charset="0"/>
              </a:rPr>
              <a:t> for a specific business scenario based on the full capabilities of Power Apps.</a:t>
            </a:r>
          </a:p>
        </p:txBody>
      </p:sp>
      <p:sp>
        <p:nvSpPr>
          <p:cNvPr id="122" name="Rectangle 121">
            <a:extLst>
              <a:ext uri="{FF2B5EF4-FFF2-40B4-BE49-F238E27FC236}">
                <a16:creationId xmlns:a16="http://schemas.microsoft.com/office/drawing/2014/main" id="{BB3207CA-8A67-4F66-80EB-0D2544D3E3E0}"/>
              </a:ext>
            </a:extLst>
          </p:cNvPr>
          <p:cNvSpPr/>
          <p:nvPr/>
        </p:nvSpPr>
        <p:spPr>
          <a:xfrm>
            <a:off x="4425105" y="3216539"/>
            <a:ext cx="3601096" cy="1108079"/>
          </a:xfrm>
          <a:prstGeom prst="rect">
            <a:avLst/>
          </a:prstGeom>
        </p:spPr>
        <p:txBody>
          <a:bodyPr wrap="square" lIns="93260" tIns="0" bIns="0" anchor="t">
            <a:noAutofit/>
          </a:bodyPr>
          <a:lstStyle/>
          <a:p>
            <a:pPr marL="0" lvl="1" defTabSz="932384">
              <a:spcAft>
                <a:spcPts val="408"/>
              </a:spcAft>
              <a:defRPr/>
            </a:pPr>
            <a:r>
              <a:rPr lang="en-US" sz="1632">
                <a:solidFill>
                  <a:srgbClr val="000000"/>
                </a:solidFill>
                <a:latin typeface="Segoe UI"/>
                <a:cs typeface="Segoe UI" panose="020B0502040204020203" pitchFamily="34" charset="0"/>
              </a:rPr>
              <a:t>Equip users to run </a:t>
            </a:r>
            <a:r>
              <a:rPr lang="en-US" sz="1632">
                <a:solidFill>
                  <a:srgbClr val="000000"/>
                </a:solidFill>
                <a:latin typeface="Segoe UI Semibold"/>
                <a:cs typeface="Segoe UI" panose="020B0502040204020203" pitchFamily="34" charset="0"/>
              </a:rPr>
              <a:t>unlimited applications</a:t>
            </a:r>
            <a:r>
              <a:rPr lang="en-US" sz="1632">
                <a:solidFill>
                  <a:srgbClr val="000000"/>
                </a:solidFill>
                <a:latin typeface="Segoe UI"/>
                <a:cs typeface="Segoe UI" panose="020B0502040204020203" pitchFamily="34" charset="0"/>
              </a:rPr>
              <a:t> based on the full capabilities of Power Apps.</a:t>
            </a:r>
          </a:p>
        </p:txBody>
      </p:sp>
      <p:sp>
        <p:nvSpPr>
          <p:cNvPr id="123" name="Rectangle 122">
            <a:extLst>
              <a:ext uri="{FF2B5EF4-FFF2-40B4-BE49-F238E27FC236}">
                <a16:creationId xmlns:a16="http://schemas.microsoft.com/office/drawing/2014/main" id="{CCE7A256-AE77-4C66-B820-7A25D9A56BB0}"/>
              </a:ext>
            </a:extLst>
          </p:cNvPr>
          <p:cNvSpPr/>
          <p:nvPr/>
        </p:nvSpPr>
        <p:spPr>
          <a:xfrm>
            <a:off x="8240287" y="3216539"/>
            <a:ext cx="3601096" cy="1108079"/>
          </a:xfrm>
          <a:prstGeom prst="rect">
            <a:avLst/>
          </a:prstGeom>
        </p:spPr>
        <p:txBody>
          <a:bodyPr wrap="square" lIns="93260" tIns="0" bIns="0" anchor="t">
            <a:noAutofit/>
          </a:bodyPr>
          <a:lstStyle/>
          <a:p>
            <a:pPr defTabSz="932384">
              <a:spcAft>
                <a:spcPts val="408"/>
              </a:spcAft>
              <a:defRPr/>
            </a:pPr>
            <a:r>
              <a:rPr lang="en-US" sz="1632">
                <a:solidFill>
                  <a:srgbClr val="000000"/>
                </a:solidFill>
                <a:latin typeface="Segoe UI Semibold"/>
                <a:cs typeface="Segoe UI" panose="020B0502040204020203" pitchFamily="34" charset="0"/>
              </a:rPr>
              <a:t>Extend and customize </a:t>
            </a:r>
            <a:r>
              <a:rPr lang="en-US" sz="1632">
                <a:solidFill>
                  <a:srgbClr val="000000"/>
                </a:solidFill>
                <a:latin typeface="Segoe UI"/>
                <a:cs typeface="Segoe UI" panose="020B0502040204020203" pitchFamily="34" charset="0"/>
              </a:rPr>
              <a:t>Office 365 and Dynamics 365.</a:t>
            </a:r>
          </a:p>
        </p:txBody>
      </p:sp>
      <p:sp>
        <p:nvSpPr>
          <p:cNvPr id="124" name="Rectangle 123">
            <a:extLst>
              <a:ext uri="{FF2B5EF4-FFF2-40B4-BE49-F238E27FC236}">
                <a16:creationId xmlns:a16="http://schemas.microsoft.com/office/drawing/2014/main" id="{08196825-5917-40C9-9CBE-C21712F31715}"/>
              </a:ext>
            </a:extLst>
          </p:cNvPr>
          <p:cNvSpPr/>
          <p:nvPr/>
        </p:nvSpPr>
        <p:spPr>
          <a:xfrm>
            <a:off x="595092" y="1187133"/>
            <a:ext cx="3601096" cy="714058"/>
          </a:xfrm>
          <a:prstGeom prst="rect">
            <a:avLst/>
          </a:prstGeom>
          <a:solidFill>
            <a:srgbClr val="0078D7"/>
          </a:solidFill>
          <a:ln w="6350">
            <a:solidFill>
              <a:srgbClr val="243A5E"/>
            </a:solidFill>
          </a:ln>
        </p:spPr>
        <p:txBody>
          <a:bodyPr wrap="square" lIns="93260">
            <a:noAutofit/>
          </a:bodyPr>
          <a:lstStyle/>
          <a:p>
            <a:pPr marL="0" lvl="1" defTabSz="932239">
              <a:defRPr/>
            </a:pPr>
            <a:r>
              <a:rPr lang="en-US" sz="1836" kern="0">
                <a:solidFill>
                  <a:srgbClr val="FFFFFF"/>
                </a:solidFill>
                <a:latin typeface="Segoe UI Semibold"/>
                <a:cs typeface="Segoe UI Semibold" panose="020B0702040204020203" pitchFamily="34" charset="0"/>
              </a:rPr>
              <a:t>Power Apps </a:t>
            </a:r>
            <a:br>
              <a:rPr lang="en-US" sz="1836" kern="0">
                <a:solidFill>
                  <a:srgbClr val="FFFFFF"/>
                </a:solidFill>
                <a:latin typeface="Segoe UI Semibold"/>
                <a:cs typeface="Segoe UI Semibold" panose="020B0702040204020203" pitchFamily="34" charset="0"/>
              </a:rPr>
            </a:br>
            <a:r>
              <a:rPr lang="en-US" sz="1836" kern="0">
                <a:solidFill>
                  <a:srgbClr val="FFFFFF"/>
                </a:solidFill>
                <a:latin typeface="Segoe UI Semibold"/>
                <a:cs typeface="Segoe UI Semibold" panose="020B0702040204020203" pitchFamily="34" charset="0"/>
              </a:rPr>
              <a:t>per app plan</a:t>
            </a:r>
          </a:p>
        </p:txBody>
      </p:sp>
      <p:sp>
        <p:nvSpPr>
          <p:cNvPr id="125" name="Rectangle 124">
            <a:extLst>
              <a:ext uri="{FF2B5EF4-FFF2-40B4-BE49-F238E27FC236}">
                <a16:creationId xmlns:a16="http://schemas.microsoft.com/office/drawing/2014/main" id="{4B906160-35A0-42D9-802A-ED72F56F5EE0}"/>
              </a:ext>
            </a:extLst>
          </p:cNvPr>
          <p:cNvSpPr/>
          <p:nvPr/>
        </p:nvSpPr>
        <p:spPr>
          <a:xfrm>
            <a:off x="4425105" y="1187133"/>
            <a:ext cx="3601096" cy="714058"/>
          </a:xfrm>
          <a:prstGeom prst="rect">
            <a:avLst/>
          </a:prstGeom>
          <a:solidFill>
            <a:srgbClr val="0078D7"/>
          </a:solidFill>
          <a:ln w="6350">
            <a:solidFill>
              <a:srgbClr val="243A5E"/>
            </a:solidFill>
          </a:ln>
        </p:spPr>
        <p:txBody>
          <a:bodyPr wrap="square" lIns="93260">
            <a:noAutofit/>
          </a:bodyPr>
          <a:lstStyle/>
          <a:p>
            <a:pPr marL="0" lvl="1" defTabSz="932239">
              <a:defRPr/>
            </a:pPr>
            <a:r>
              <a:rPr lang="en-US" sz="1836" kern="0">
                <a:solidFill>
                  <a:srgbClr val="FFFFFF"/>
                </a:solidFill>
                <a:latin typeface="Segoe UI Semibold"/>
                <a:cs typeface="Segoe UI Semibold" panose="020B0702040204020203" pitchFamily="34" charset="0"/>
              </a:rPr>
              <a:t>Power Apps </a:t>
            </a:r>
            <a:br>
              <a:rPr lang="en-US" sz="1836" kern="0">
                <a:solidFill>
                  <a:srgbClr val="FFFFFF"/>
                </a:solidFill>
                <a:latin typeface="Segoe UI Semibold"/>
                <a:cs typeface="Segoe UI Semibold" panose="020B0702040204020203" pitchFamily="34" charset="0"/>
              </a:rPr>
            </a:br>
            <a:r>
              <a:rPr lang="en-US" sz="1836" kern="0">
                <a:solidFill>
                  <a:srgbClr val="FFFFFF"/>
                </a:solidFill>
                <a:latin typeface="Segoe UI Semibold"/>
                <a:cs typeface="Segoe UI Semibold" panose="020B0702040204020203" pitchFamily="34" charset="0"/>
              </a:rPr>
              <a:t>per user plan </a:t>
            </a:r>
          </a:p>
        </p:txBody>
      </p:sp>
      <p:sp>
        <p:nvSpPr>
          <p:cNvPr id="126" name="Rectangle 125">
            <a:extLst>
              <a:ext uri="{FF2B5EF4-FFF2-40B4-BE49-F238E27FC236}">
                <a16:creationId xmlns:a16="http://schemas.microsoft.com/office/drawing/2014/main" id="{5B7B2569-909B-450D-A1B6-097F56AA578D}"/>
              </a:ext>
            </a:extLst>
          </p:cNvPr>
          <p:cNvSpPr/>
          <p:nvPr/>
        </p:nvSpPr>
        <p:spPr>
          <a:xfrm>
            <a:off x="8240287" y="1187133"/>
            <a:ext cx="3601096" cy="714058"/>
          </a:xfrm>
          <a:prstGeom prst="rect">
            <a:avLst/>
          </a:prstGeom>
          <a:solidFill>
            <a:srgbClr val="0078D7"/>
          </a:solidFill>
          <a:ln w="6350">
            <a:solidFill>
              <a:srgbClr val="243A5E"/>
            </a:solidFill>
          </a:ln>
        </p:spPr>
        <p:txBody>
          <a:bodyPr wrap="square" lIns="93260">
            <a:noAutofit/>
          </a:bodyPr>
          <a:lstStyle/>
          <a:p>
            <a:pPr marL="0" lvl="1" defTabSz="932239">
              <a:defRPr/>
            </a:pPr>
            <a:r>
              <a:rPr lang="en-US" sz="1836" kern="0">
                <a:solidFill>
                  <a:srgbClr val="FFFFFF"/>
                </a:solidFill>
                <a:latin typeface="Segoe UI Semibold"/>
                <a:cs typeface="Segoe UI Semibold" panose="020B0702040204020203" pitchFamily="34" charset="0"/>
              </a:rPr>
              <a:t>Seeded </a:t>
            </a:r>
            <a:br>
              <a:rPr lang="en-US" sz="1836" kern="0">
                <a:solidFill>
                  <a:srgbClr val="FFFFFF"/>
                </a:solidFill>
                <a:latin typeface="Segoe UI Semibold"/>
                <a:cs typeface="Segoe UI Semibold" panose="020B0702040204020203" pitchFamily="34" charset="0"/>
              </a:rPr>
            </a:br>
            <a:r>
              <a:rPr lang="en-US" sz="1836" kern="0">
                <a:solidFill>
                  <a:srgbClr val="FFFFFF"/>
                </a:solidFill>
                <a:latin typeface="Segoe UI Semibold"/>
                <a:cs typeface="Segoe UI Semibold" panose="020B0702040204020203" pitchFamily="34" charset="0"/>
              </a:rPr>
              <a:t>Power Apps</a:t>
            </a:r>
          </a:p>
        </p:txBody>
      </p:sp>
      <p:sp>
        <p:nvSpPr>
          <p:cNvPr id="127" name="people_12" title="Icon of three people">
            <a:extLst>
              <a:ext uri="{FF2B5EF4-FFF2-40B4-BE49-F238E27FC236}">
                <a16:creationId xmlns:a16="http://schemas.microsoft.com/office/drawing/2014/main" id="{9274207A-BE01-4B3B-B464-3E60153E3A2C}"/>
              </a:ext>
            </a:extLst>
          </p:cNvPr>
          <p:cNvSpPr>
            <a:spLocks noChangeAspect="1" noEditPoints="1"/>
          </p:cNvSpPr>
          <p:nvPr/>
        </p:nvSpPr>
        <p:spPr bwMode="auto">
          <a:xfrm>
            <a:off x="7508167" y="1357641"/>
            <a:ext cx="437238" cy="37304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1734">
              <a:solidFill>
                <a:srgbClr val="000000"/>
              </a:solidFill>
              <a:latin typeface="Segoe UI"/>
            </a:endParaRPr>
          </a:p>
        </p:txBody>
      </p:sp>
      <p:grpSp>
        <p:nvGrpSpPr>
          <p:cNvPr id="128" name="Group 127">
            <a:extLst>
              <a:ext uri="{FF2B5EF4-FFF2-40B4-BE49-F238E27FC236}">
                <a16:creationId xmlns:a16="http://schemas.microsoft.com/office/drawing/2014/main" id="{4C5992B2-B5CD-4C2D-BBD2-010A5E437FD3}"/>
              </a:ext>
            </a:extLst>
          </p:cNvPr>
          <p:cNvGrpSpPr/>
          <p:nvPr/>
        </p:nvGrpSpPr>
        <p:grpSpPr>
          <a:xfrm>
            <a:off x="11320876" y="1344578"/>
            <a:ext cx="398469" cy="399167"/>
            <a:chOff x="4565921" y="3369898"/>
            <a:chExt cx="242888" cy="243314"/>
          </a:xfrm>
        </p:grpSpPr>
        <p:sp>
          <p:nvSpPr>
            <p:cNvPr id="129" name="Freeform: Shape 128">
              <a:extLst>
                <a:ext uri="{FF2B5EF4-FFF2-40B4-BE49-F238E27FC236}">
                  <a16:creationId xmlns:a16="http://schemas.microsoft.com/office/drawing/2014/main" id="{866BBBA4-879F-444B-92B7-6FB3431EE4DB}"/>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0" name="Freeform: Shape 129">
              <a:extLst>
                <a:ext uri="{FF2B5EF4-FFF2-40B4-BE49-F238E27FC236}">
                  <a16:creationId xmlns:a16="http://schemas.microsoft.com/office/drawing/2014/main" id="{EB9D8817-7D61-45EC-951F-59A0425D5CA0}"/>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1" name="Freeform: Shape 130">
              <a:extLst>
                <a:ext uri="{FF2B5EF4-FFF2-40B4-BE49-F238E27FC236}">
                  <a16:creationId xmlns:a16="http://schemas.microsoft.com/office/drawing/2014/main" id="{3E0BBA35-CBCF-430A-9109-AA997570CF79}"/>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2" name="Freeform: Shape 131">
              <a:extLst>
                <a:ext uri="{FF2B5EF4-FFF2-40B4-BE49-F238E27FC236}">
                  <a16:creationId xmlns:a16="http://schemas.microsoft.com/office/drawing/2014/main" id="{5B2A3F51-E988-4748-817B-A1759C97AC16}"/>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grpSp>
      <p:grpSp>
        <p:nvGrpSpPr>
          <p:cNvPr id="133" name="Group 132">
            <a:extLst>
              <a:ext uri="{FF2B5EF4-FFF2-40B4-BE49-F238E27FC236}">
                <a16:creationId xmlns:a16="http://schemas.microsoft.com/office/drawing/2014/main" id="{A6FF58ED-686A-4D0E-AB84-7A5587C93D28}"/>
              </a:ext>
            </a:extLst>
          </p:cNvPr>
          <p:cNvGrpSpPr/>
          <p:nvPr/>
        </p:nvGrpSpPr>
        <p:grpSpPr>
          <a:xfrm>
            <a:off x="3604239" y="1379770"/>
            <a:ext cx="487873" cy="328783"/>
            <a:chOff x="2728541" y="3066996"/>
            <a:chExt cx="438150" cy="295275"/>
          </a:xfrm>
        </p:grpSpPr>
        <p:sp>
          <p:nvSpPr>
            <p:cNvPr id="134" name="Freeform: Shape 133">
              <a:extLst>
                <a:ext uri="{FF2B5EF4-FFF2-40B4-BE49-F238E27FC236}">
                  <a16:creationId xmlns:a16="http://schemas.microsoft.com/office/drawing/2014/main" id="{BA8728A9-5D4B-4A0C-A5AE-B066C203344C}"/>
                </a:ext>
              </a:extLst>
            </p:cNvPr>
            <p:cNvSpPr/>
            <p:nvPr/>
          </p:nvSpPr>
          <p:spPr>
            <a:xfrm>
              <a:off x="2728541" y="3066996"/>
              <a:ext cx="438150" cy="295275"/>
            </a:xfrm>
            <a:custGeom>
              <a:avLst/>
              <a:gdLst>
                <a:gd name="connsiteX0" fmla="*/ 380735 w 438150"/>
                <a:gd name="connsiteY0" fmla="*/ 208333 h 295275"/>
                <a:gd name="connsiteX1" fmla="*/ 64505 w 438150"/>
                <a:gd name="connsiteY1" fmla="*/ 208333 h 295275"/>
                <a:gd name="connsiteX2" fmla="*/ 64505 w 438150"/>
                <a:gd name="connsiteY2" fmla="*/ 7355 h 295275"/>
                <a:gd name="connsiteX3" fmla="*/ 380735 w 438150"/>
                <a:gd name="connsiteY3" fmla="*/ 7355 h 295275"/>
                <a:gd name="connsiteX4" fmla="*/ 380735 w 438150"/>
                <a:gd name="connsiteY4" fmla="*/ 208333 h 295275"/>
                <a:gd name="connsiteX5" fmla="*/ 380735 w 438150"/>
                <a:gd name="connsiteY5" fmla="*/ 208333 h 295275"/>
                <a:gd name="connsiteX6" fmla="*/ 380735 w 438150"/>
                <a:gd name="connsiteY6" fmla="*/ 208333 h 295275"/>
                <a:gd name="connsiteX7" fmla="*/ 7355 w 438150"/>
                <a:gd name="connsiteY7" fmla="*/ 279770 h 295275"/>
                <a:gd name="connsiteX8" fmla="*/ 21643 w 438150"/>
                <a:gd name="connsiteY8" fmla="*/ 294058 h 295275"/>
                <a:gd name="connsiteX9" fmla="*/ 423598 w 438150"/>
                <a:gd name="connsiteY9" fmla="*/ 294058 h 295275"/>
                <a:gd name="connsiteX10" fmla="*/ 437885 w 438150"/>
                <a:gd name="connsiteY10" fmla="*/ 279770 h 295275"/>
                <a:gd name="connsiteX11" fmla="*/ 431218 w 438150"/>
                <a:gd name="connsiteY11" fmla="*/ 257863 h 295275"/>
                <a:gd name="connsiteX12" fmla="*/ 380735 w 438150"/>
                <a:gd name="connsiteY12" fmla="*/ 207380 h 295275"/>
                <a:gd name="connsiteX13" fmla="*/ 64505 w 438150"/>
                <a:gd name="connsiteY13" fmla="*/ 207380 h 295275"/>
                <a:gd name="connsiteX14" fmla="*/ 14023 w 438150"/>
                <a:gd name="connsiteY14" fmla="*/ 257863 h 295275"/>
                <a:gd name="connsiteX15" fmla="*/ 7355 w 438150"/>
                <a:gd name="connsiteY15" fmla="*/ 279770 h 295275"/>
                <a:gd name="connsiteX16" fmla="*/ 7355 w 438150"/>
                <a:gd name="connsiteY16" fmla="*/ 27977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8150" h="295275">
                  <a:moveTo>
                    <a:pt x="380735" y="208333"/>
                  </a:moveTo>
                  <a:cubicBezTo>
                    <a:pt x="64505" y="208333"/>
                    <a:pt x="64505" y="208333"/>
                    <a:pt x="64505" y="208333"/>
                  </a:cubicBezTo>
                  <a:cubicBezTo>
                    <a:pt x="64505" y="7355"/>
                    <a:pt x="64505" y="7355"/>
                    <a:pt x="64505" y="7355"/>
                  </a:cubicBezTo>
                  <a:cubicBezTo>
                    <a:pt x="380735" y="7355"/>
                    <a:pt x="380735" y="7355"/>
                    <a:pt x="380735" y="7355"/>
                  </a:cubicBezTo>
                  <a:lnTo>
                    <a:pt x="380735" y="208333"/>
                  </a:lnTo>
                  <a:lnTo>
                    <a:pt x="380735" y="208333"/>
                  </a:lnTo>
                  <a:lnTo>
                    <a:pt x="380735" y="208333"/>
                  </a:lnTo>
                  <a:close/>
                  <a:moveTo>
                    <a:pt x="7355" y="279770"/>
                  </a:moveTo>
                  <a:cubicBezTo>
                    <a:pt x="7355" y="287390"/>
                    <a:pt x="14023" y="294058"/>
                    <a:pt x="21643" y="294058"/>
                  </a:cubicBezTo>
                  <a:cubicBezTo>
                    <a:pt x="423598" y="294058"/>
                    <a:pt x="423598" y="294058"/>
                    <a:pt x="423598" y="294058"/>
                  </a:cubicBezTo>
                  <a:cubicBezTo>
                    <a:pt x="431218" y="294058"/>
                    <a:pt x="437885" y="287390"/>
                    <a:pt x="437885" y="279770"/>
                  </a:cubicBezTo>
                  <a:cubicBezTo>
                    <a:pt x="437885" y="271198"/>
                    <a:pt x="435028" y="263578"/>
                    <a:pt x="431218" y="257863"/>
                  </a:cubicBezTo>
                  <a:cubicBezTo>
                    <a:pt x="380735" y="207380"/>
                    <a:pt x="380735" y="207380"/>
                    <a:pt x="380735" y="207380"/>
                  </a:cubicBezTo>
                  <a:cubicBezTo>
                    <a:pt x="64505" y="207380"/>
                    <a:pt x="64505" y="207380"/>
                    <a:pt x="64505" y="207380"/>
                  </a:cubicBezTo>
                  <a:cubicBezTo>
                    <a:pt x="14023" y="257863"/>
                    <a:pt x="14023" y="257863"/>
                    <a:pt x="14023" y="257863"/>
                  </a:cubicBezTo>
                  <a:cubicBezTo>
                    <a:pt x="10213" y="263578"/>
                    <a:pt x="7355" y="271198"/>
                    <a:pt x="7355" y="279770"/>
                  </a:cubicBezTo>
                  <a:lnTo>
                    <a:pt x="7355" y="279770"/>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5" name="Freeform: Shape 134">
              <a:extLst>
                <a:ext uri="{FF2B5EF4-FFF2-40B4-BE49-F238E27FC236}">
                  <a16:creationId xmlns:a16="http://schemas.microsoft.com/office/drawing/2014/main" id="{78576DB6-CB4C-4201-9227-3E6EC4BBCF9B}"/>
                </a:ext>
              </a:extLst>
            </p:cNvPr>
            <p:cNvSpPr/>
            <p:nvPr/>
          </p:nvSpPr>
          <p:spPr>
            <a:xfrm>
              <a:off x="2813314" y="3234636"/>
              <a:ext cx="133350" cy="9525"/>
            </a:xfrm>
            <a:custGeom>
              <a:avLst/>
              <a:gdLst>
                <a:gd name="connsiteX0" fmla="*/ 133085 w 133350"/>
                <a:gd name="connsiteY0" fmla="*/ 7355 h 9525"/>
                <a:gd name="connsiteX1" fmla="*/ 7355 w 133350"/>
                <a:gd name="connsiteY1" fmla="*/ 7355 h 9525"/>
              </a:gdLst>
              <a:ahLst/>
              <a:cxnLst>
                <a:cxn ang="0">
                  <a:pos x="connsiteX0" y="connsiteY0"/>
                </a:cxn>
                <a:cxn ang="0">
                  <a:pos x="connsiteX1" y="connsiteY1"/>
                </a:cxn>
              </a:cxnLst>
              <a:rect l="l" t="t" r="r" b="b"/>
              <a:pathLst>
                <a:path w="133350" h="9525">
                  <a:moveTo>
                    <a:pt x="133085" y="735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6" name="Freeform: Shape 135">
              <a:extLst>
                <a:ext uri="{FF2B5EF4-FFF2-40B4-BE49-F238E27FC236}">
                  <a16:creationId xmlns:a16="http://schemas.microsoft.com/office/drawing/2014/main" id="{6D4C66B1-F7EB-474D-A540-3253B5588A11}"/>
                </a:ext>
              </a:extLst>
            </p:cNvPr>
            <p:cNvSpPr/>
            <p:nvPr/>
          </p:nvSpPr>
          <p:spPr>
            <a:xfrm>
              <a:off x="2828554" y="3171771"/>
              <a:ext cx="9525" cy="76200"/>
            </a:xfrm>
            <a:custGeom>
              <a:avLst/>
              <a:gdLst>
                <a:gd name="connsiteX0" fmla="*/ 7355 w 9525"/>
                <a:gd name="connsiteY0" fmla="*/ 70220 h 76200"/>
                <a:gd name="connsiteX1" fmla="*/ 7355 w 9525"/>
                <a:gd name="connsiteY1" fmla="*/ 7355 h 76200"/>
              </a:gdLst>
              <a:ahLst/>
              <a:cxnLst>
                <a:cxn ang="0">
                  <a:pos x="connsiteX0" y="connsiteY0"/>
                </a:cxn>
                <a:cxn ang="0">
                  <a:pos x="connsiteX1" y="connsiteY1"/>
                </a:cxn>
              </a:cxnLst>
              <a:rect l="l" t="t" r="r" b="b"/>
              <a:pathLst>
                <a:path w="9525" h="76200">
                  <a:moveTo>
                    <a:pt x="7355" y="70220"/>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7" name="Freeform: Shape 136">
              <a:extLst>
                <a:ext uri="{FF2B5EF4-FFF2-40B4-BE49-F238E27FC236}">
                  <a16:creationId xmlns:a16="http://schemas.microsoft.com/office/drawing/2014/main" id="{362D5C5C-E8FF-450E-B5B2-8E70D972356B}"/>
                </a:ext>
              </a:extLst>
            </p:cNvPr>
            <p:cNvSpPr/>
            <p:nvPr/>
          </p:nvSpPr>
          <p:spPr>
            <a:xfrm>
              <a:off x="2858081" y="3192726"/>
              <a:ext cx="9525" cy="47625"/>
            </a:xfrm>
            <a:custGeom>
              <a:avLst/>
              <a:gdLst>
                <a:gd name="connsiteX0" fmla="*/ 7355 w 9525"/>
                <a:gd name="connsiteY0" fmla="*/ 49265 h 47625"/>
                <a:gd name="connsiteX1" fmla="*/ 7355 w 9525"/>
                <a:gd name="connsiteY1" fmla="*/ 7355 h 47625"/>
              </a:gdLst>
              <a:ahLst/>
              <a:cxnLst>
                <a:cxn ang="0">
                  <a:pos x="connsiteX0" y="connsiteY0"/>
                </a:cxn>
                <a:cxn ang="0">
                  <a:pos x="connsiteX1" y="connsiteY1"/>
                </a:cxn>
              </a:cxnLst>
              <a:rect l="l" t="t" r="r" b="b"/>
              <a:pathLst>
                <a:path w="9525" h="47625">
                  <a:moveTo>
                    <a:pt x="7355" y="4926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8" name="Freeform: Shape 137">
              <a:extLst>
                <a:ext uri="{FF2B5EF4-FFF2-40B4-BE49-F238E27FC236}">
                  <a16:creationId xmlns:a16="http://schemas.microsoft.com/office/drawing/2014/main" id="{61A84379-C614-4125-A133-062339056043}"/>
                </a:ext>
              </a:extLst>
            </p:cNvPr>
            <p:cNvSpPr/>
            <p:nvPr/>
          </p:nvSpPr>
          <p:spPr>
            <a:xfrm>
              <a:off x="2887609" y="3187964"/>
              <a:ext cx="9525" cy="57150"/>
            </a:xfrm>
            <a:custGeom>
              <a:avLst/>
              <a:gdLst>
                <a:gd name="connsiteX0" fmla="*/ 7355 w 9525"/>
                <a:gd name="connsiteY0" fmla="*/ 54028 h 57150"/>
                <a:gd name="connsiteX1" fmla="*/ 7355 w 9525"/>
                <a:gd name="connsiteY1" fmla="*/ 7355 h 57150"/>
              </a:gdLst>
              <a:ahLst/>
              <a:cxnLst>
                <a:cxn ang="0">
                  <a:pos x="connsiteX0" y="connsiteY0"/>
                </a:cxn>
                <a:cxn ang="0">
                  <a:pos x="connsiteX1" y="connsiteY1"/>
                </a:cxn>
              </a:cxnLst>
              <a:rect l="l" t="t" r="r" b="b"/>
              <a:pathLst>
                <a:path w="9525" h="57150">
                  <a:moveTo>
                    <a:pt x="7355" y="54028"/>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39" name="Freeform: Shape 138">
              <a:extLst>
                <a:ext uri="{FF2B5EF4-FFF2-40B4-BE49-F238E27FC236}">
                  <a16:creationId xmlns:a16="http://schemas.microsoft.com/office/drawing/2014/main" id="{424307F8-8E51-437E-837F-243AF3ABB24B}"/>
                </a:ext>
              </a:extLst>
            </p:cNvPr>
            <p:cNvSpPr/>
            <p:nvPr/>
          </p:nvSpPr>
          <p:spPr>
            <a:xfrm>
              <a:off x="2918089" y="3212729"/>
              <a:ext cx="9525" cy="28575"/>
            </a:xfrm>
            <a:custGeom>
              <a:avLst/>
              <a:gdLst>
                <a:gd name="connsiteX0" fmla="*/ 7355 w 9525"/>
                <a:gd name="connsiteY0" fmla="*/ 29263 h 28575"/>
                <a:gd name="connsiteX1" fmla="*/ 7355 w 9525"/>
                <a:gd name="connsiteY1" fmla="*/ 7355 h 28575"/>
              </a:gdLst>
              <a:ahLst/>
              <a:cxnLst>
                <a:cxn ang="0">
                  <a:pos x="connsiteX0" y="connsiteY0"/>
                </a:cxn>
                <a:cxn ang="0">
                  <a:pos x="connsiteX1" y="connsiteY1"/>
                </a:cxn>
              </a:cxnLst>
              <a:rect l="l" t="t" r="r" b="b"/>
              <a:pathLst>
                <a:path w="9525" h="28575">
                  <a:moveTo>
                    <a:pt x="7355" y="29263"/>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0" name="Freeform: Shape 139">
              <a:extLst>
                <a:ext uri="{FF2B5EF4-FFF2-40B4-BE49-F238E27FC236}">
                  <a16:creationId xmlns:a16="http://schemas.microsoft.com/office/drawing/2014/main" id="{CE4CA049-AEBF-4FA0-A466-E5E0E9982FDC}"/>
                </a:ext>
              </a:extLst>
            </p:cNvPr>
            <p:cNvSpPr/>
            <p:nvPr/>
          </p:nvSpPr>
          <p:spPr>
            <a:xfrm>
              <a:off x="2824744" y="3103191"/>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1" name="Freeform: Shape 140">
              <a:extLst>
                <a:ext uri="{FF2B5EF4-FFF2-40B4-BE49-F238E27FC236}">
                  <a16:creationId xmlns:a16="http://schemas.microsoft.com/office/drawing/2014/main" id="{A08E42AB-F1D7-4C19-ACA9-4714D44FC9CC}"/>
                </a:ext>
              </a:extLst>
            </p:cNvPr>
            <p:cNvSpPr/>
            <p:nvPr/>
          </p:nvSpPr>
          <p:spPr>
            <a:xfrm>
              <a:off x="2824744" y="3127956"/>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2" name="Freeform: Shape 141">
              <a:extLst>
                <a:ext uri="{FF2B5EF4-FFF2-40B4-BE49-F238E27FC236}">
                  <a16:creationId xmlns:a16="http://schemas.microsoft.com/office/drawing/2014/main" id="{D8C09E32-FE42-450D-BBEB-DB5A2E8887CD}"/>
                </a:ext>
              </a:extLst>
            </p:cNvPr>
            <p:cNvSpPr/>
            <p:nvPr/>
          </p:nvSpPr>
          <p:spPr>
            <a:xfrm>
              <a:off x="2984764" y="3210824"/>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3" name="Freeform: Shape 142">
              <a:extLst>
                <a:ext uri="{FF2B5EF4-FFF2-40B4-BE49-F238E27FC236}">
                  <a16:creationId xmlns:a16="http://schemas.microsoft.com/office/drawing/2014/main" id="{7D480DD2-7275-4996-995F-9E2B67B50F10}"/>
                </a:ext>
              </a:extLst>
            </p:cNvPr>
            <p:cNvSpPr/>
            <p:nvPr/>
          </p:nvSpPr>
          <p:spPr>
            <a:xfrm>
              <a:off x="2984764" y="3235589"/>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4" name="Freeform: Shape 143">
              <a:extLst>
                <a:ext uri="{FF2B5EF4-FFF2-40B4-BE49-F238E27FC236}">
                  <a16:creationId xmlns:a16="http://schemas.microsoft.com/office/drawing/2014/main" id="{C554AC4D-49D5-4AC9-A34E-9104221DB429}"/>
                </a:ext>
              </a:extLst>
            </p:cNvPr>
            <p:cNvSpPr/>
            <p:nvPr/>
          </p:nvSpPr>
          <p:spPr>
            <a:xfrm>
              <a:off x="2989526" y="3094619"/>
              <a:ext cx="76200" cy="76200"/>
            </a:xfrm>
            <a:custGeom>
              <a:avLst/>
              <a:gdLst>
                <a:gd name="connsiteX0" fmla="*/ 77840 w 76200"/>
                <a:gd name="connsiteY0" fmla="*/ 42598 h 76200"/>
                <a:gd name="connsiteX1" fmla="*/ 42598 w 76200"/>
                <a:gd name="connsiteY1" fmla="*/ 77840 h 76200"/>
                <a:gd name="connsiteX2" fmla="*/ 7355 w 76200"/>
                <a:gd name="connsiteY2" fmla="*/ 42598 h 76200"/>
                <a:gd name="connsiteX3" fmla="*/ 42598 w 76200"/>
                <a:gd name="connsiteY3" fmla="*/ 7355 h 76200"/>
                <a:gd name="connsiteX4" fmla="*/ 77840 w 76200"/>
                <a:gd name="connsiteY4" fmla="*/ 4259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840" y="42598"/>
                  </a:moveTo>
                  <a:cubicBezTo>
                    <a:pt x="77840" y="62062"/>
                    <a:pt x="62062" y="77840"/>
                    <a:pt x="42598" y="77840"/>
                  </a:cubicBezTo>
                  <a:cubicBezTo>
                    <a:pt x="23134" y="77840"/>
                    <a:pt x="7355" y="62062"/>
                    <a:pt x="7355" y="42598"/>
                  </a:cubicBezTo>
                  <a:cubicBezTo>
                    <a:pt x="7355" y="23134"/>
                    <a:pt x="23134" y="7355"/>
                    <a:pt x="42598" y="7355"/>
                  </a:cubicBezTo>
                  <a:cubicBezTo>
                    <a:pt x="62062" y="7355"/>
                    <a:pt x="77840" y="23134"/>
                    <a:pt x="77840" y="4259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5" name="Freeform: Shape 144">
              <a:extLst>
                <a:ext uri="{FF2B5EF4-FFF2-40B4-BE49-F238E27FC236}">
                  <a16:creationId xmlns:a16="http://schemas.microsoft.com/office/drawing/2014/main" id="{490B170A-03E2-4327-A553-BB7DA1324371}"/>
                </a:ext>
              </a:extLst>
            </p:cNvPr>
            <p:cNvSpPr/>
            <p:nvPr/>
          </p:nvSpPr>
          <p:spPr>
            <a:xfrm>
              <a:off x="3027626" y="3103191"/>
              <a:ext cx="28575" cy="38100"/>
            </a:xfrm>
            <a:custGeom>
              <a:avLst/>
              <a:gdLst>
                <a:gd name="connsiteX0" fmla="*/ 24500 w 28575"/>
                <a:gd name="connsiteY0" fmla="*/ 7355 h 38100"/>
                <a:gd name="connsiteX1" fmla="*/ 7355 w 28575"/>
                <a:gd name="connsiteY1" fmla="*/ 33073 h 38100"/>
              </a:gdLst>
              <a:ahLst/>
              <a:cxnLst>
                <a:cxn ang="0">
                  <a:pos x="connsiteX0" y="connsiteY0"/>
                </a:cxn>
                <a:cxn ang="0">
                  <a:pos x="connsiteX1" y="connsiteY1"/>
                </a:cxn>
              </a:cxnLst>
              <a:rect l="l" t="t" r="r" b="b"/>
              <a:pathLst>
                <a:path w="28575" h="38100">
                  <a:moveTo>
                    <a:pt x="24500" y="7355"/>
                  </a:moveTo>
                  <a:lnTo>
                    <a:pt x="7355" y="33073"/>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sp>
          <p:nvSpPr>
            <p:cNvPr id="146" name="Freeform: Shape 145">
              <a:extLst>
                <a:ext uri="{FF2B5EF4-FFF2-40B4-BE49-F238E27FC236}">
                  <a16:creationId xmlns:a16="http://schemas.microsoft.com/office/drawing/2014/main" id="{82D26AC7-648E-4250-8F53-D617593CAD6C}"/>
                </a:ext>
              </a:extLst>
            </p:cNvPr>
            <p:cNvSpPr/>
            <p:nvPr/>
          </p:nvSpPr>
          <p:spPr>
            <a:xfrm>
              <a:off x="3016196" y="3097476"/>
              <a:ext cx="47625" cy="66675"/>
            </a:xfrm>
            <a:custGeom>
              <a:avLst/>
              <a:gdLst>
                <a:gd name="connsiteX0" fmla="*/ 7355 w 47625"/>
                <a:gd name="connsiteY0" fmla="*/ 7355 h 66675"/>
                <a:gd name="connsiteX1" fmla="*/ 15928 w 47625"/>
                <a:gd name="connsiteY1" fmla="*/ 39740 h 66675"/>
                <a:gd name="connsiteX2" fmla="*/ 40693 w 47625"/>
                <a:gd name="connsiteY2" fmla="*/ 60695 h 66675"/>
              </a:gdLst>
              <a:ahLst/>
              <a:cxnLst>
                <a:cxn ang="0">
                  <a:pos x="connsiteX0" y="connsiteY0"/>
                </a:cxn>
                <a:cxn ang="0">
                  <a:pos x="connsiteX1" y="connsiteY1"/>
                </a:cxn>
                <a:cxn ang="0">
                  <a:pos x="connsiteX2" y="connsiteY2"/>
                </a:cxn>
              </a:cxnLst>
              <a:rect l="l" t="t" r="r" b="b"/>
              <a:pathLst>
                <a:path w="47625" h="66675">
                  <a:moveTo>
                    <a:pt x="7355" y="7355"/>
                  </a:moveTo>
                  <a:lnTo>
                    <a:pt x="15928" y="39740"/>
                  </a:lnTo>
                  <a:lnTo>
                    <a:pt x="40693" y="6069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2558430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4B7BCB-9541-4C31-BB2F-5DFD3F6E46A0}"/>
              </a:ext>
            </a:extLst>
          </p:cNvPr>
          <p:cNvSpPr>
            <a:spLocks noGrp="1"/>
          </p:cNvSpPr>
          <p:nvPr>
            <p:ph type="title"/>
          </p:nvPr>
        </p:nvSpPr>
        <p:spPr/>
        <p:txBody>
          <a:bodyPr/>
          <a:lstStyle/>
          <a:p>
            <a:r>
              <a:rPr lang="en-US" dirty="0">
                <a:solidFill>
                  <a:srgbClr val="0078D7"/>
                </a:solidFill>
                <a:cs typeface="Segoe UI"/>
              </a:rPr>
              <a:t>What is a connector</a:t>
            </a:r>
          </a:p>
        </p:txBody>
      </p:sp>
      <p:sp>
        <p:nvSpPr>
          <p:cNvPr id="7" name="Text Placeholder 6">
            <a:extLst>
              <a:ext uri="{FF2B5EF4-FFF2-40B4-BE49-F238E27FC236}">
                <a16:creationId xmlns:a16="http://schemas.microsoft.com/office/drawing/2014/main" id="{5EB3B185-9895-46BC-9BA5-2EC41D5B7C43}"/>
              </a:ext>
            </a:extLst>
          </p:cNvPr>
          <p:cNvSpPr>
            <a:spLocks noGrp="1"/>
          </p:cNvSpPr>
          <p:nvPr>
            <p:ph type="body" sz="quarter" idx="10"/>
          </p:nvPr>
        </p:nvSpPr>
        <p:spPr>
          <a:xfrm>
            <a:off x="274638" y="1212850"/>
            <a:ext cx="11887200" cy="2899255"/>
          </a:xfrm>
        </p:spPr>
        <p:txBody>
          <a:bodyPr vert="horz" wrap="square" lIns="146304" tIns="91440" rIns="146304" bIns="91440" rtlCol="0" anchor="t">
            <a:spAutoFit/>
          </a:bodyPr>
          <a:lstStyle/>
          <a:p>
            <a:pPr lvl="0"/>
            <a:r>
              <a:rPr lang="de-AT" dirty="0"/>
              <a:t>A connector is a way for Power Apps to talk to various data sources.</a:t>
            </a:r>
            <a:endParaRPr lang="en-US" dirty="0"/>
          </a:p>
          <a:p>
            <a:pPr lvl="0"/>
            <a:r>
              <a:rPr lang="en-US" dirty="0"/>
              <a:t>Common connectors are Office365, Azure AD, Facebook, and Twitter.</a:t>
            </a:r>
          </a:p>
          <a:p>
            <a:endParaRPr lang="en-US" dirty="0"/>
          </a:p>
        </p:txBody>
      </p:sp>
      <p:pic>
        <p:nvPicPr>
          <p:cNvPr id="4" name="Picture 3">
            <a:extLst>
              <a:ext uri="{FF2B5EF4-FFF2-40B4-BE49-F238E27FC236}">
                <a16:creationId xmlns:a16="http://schemas.microsoft.com/office/drawing/2014/main" id="{5167A116-0922-4640-9E9B-B0F35D15BA42}"/>
              </a:ext>
            </a:extLst>
          </p:cNvPr>
          <p:cNvPicPr>
            <a:picLocks noChangeAspect="1"/>
          </p:cNvPicPr>
          <p:nvPr/>
        </p:nvPicPr>
        <p:blipFill>
          <a:blip r:embed="rId3"/>
          <a:stretch>
            <a:fillRect/>
          </a:stretch>
        </p:blipFill>
        <p:spPr>
          <a:xfrm>
            <a:off x="3551237" y="3011826"/>
            <a:ext cx="4800600" cy="3982699"/>
          </a:xfrm>
          <a:prstGeom prst="rect">
            <a:avLst/>
          </a:prstGeom>
        </p:spPr>
      </p:pic>
    </p:spTree>
    <p:extLst>
      <p:ext uri="{BB962C8B-B14F-4D97-AF65-F5344CB8AC3E}">
        <p14:creationId xmlns:p14="http://schemas.microsoft.com/office/powerpoint/2010/main" val="30811738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4F0EE3-70B5-4533-A0A3-C9B4AA06EF1C}"/>
              </a:ext>
            </a:extLst>
          </p:cNvPr>
          <p:cNvSpPr>
            <a:spLocks noGrp="1"/>
          </p:cNvSpPr>
          <p:nvPr>
            <p:ph type="body" sz="quarter" idx="10"/>
          </p:nvPr>
        </p:nvSpPr>
        <p:spPr>
          <a:xfrm>
            <a:off x="407454" y="1217621"/>
            <a:ext cx="5562204" cy="3013133"/>
          </a:xfrm>
        </p:spPr>
        <p:txBody>
          <a:bodyPr vert="horz" wrap="square" lIns="0" tIns="0" rIns="0" bIns="0" rtlCol="0" anchor="t">
            <a:spAutoFit/>
          </a:bodyPr>
          <a:lstStyle/>
          <a:p>
            <a:pPr marL="342900" indent="-342900">
              <a:spcAft>
                <a:spcPts val="2000"/>
              </a:spcAft>
              <a:buFont typeface="Arial" panose="020B0604020202020204" pitchFamily="34" charset="0"/>
              <a:buChar char="•"/>
            </a:pPr>
            <a:r>
              <a:rPr lang="en-US" sz="1800" dirty="0">
                <a:latin typeface="Segoe UI Light"/>
                <a:cs typeface="Segoe UI Light"/>
              </a:rPr>
              <a:t>500+ built-in connectors in addition to Custom Connectors</a:t>
            </a:r>
          </a:p>
          <a:p>
            <a:pPr marL="342900" indent="-342900">
              <a:spcAft>
                <a:spcPts val="2000"/>
              </a:spcAft>
              <a:buFont typeface="Arial" panose="020B0604020202020204" pitchFamily="34" charset="0"/>
              <a:buChar char="•"/>
            </a:pPr>
            <a:r>
              <a:rPr lang="en-US" sz="1800" dirty="0">
                <a:latin typeface="Segoe UI Light"/>
                <a:cs typeface="Segoe UI Light"/>
              </a:rPr>
              <a:t>Seamless hybrid connectivity to on-premises systems via the On-Premises Data Gateway</a:t>
            </a:r>
            <a:endParaRPr lang="en-US" sz="1800" dirty="0">
              <a:latin typeface="Segoe UI Light" panose="020B0502040204020203" pitchFamily="34" charset="0"/>
              <a:cs typeface="Segoe UI Light" panose="020B0502040204020203" pitchFamily="34" charset="0"/>
            </a:endParaRPr>
          </a:p>
          <a:p>
            <a:pPr marL="342900" indent="-342900">
              <a:spcAft>
                <a:spcPts val="2000"/>
              </a:spcAft>
              <a:buFont typeface="Arial" panose="020B0604020202020204" pitchFamily="34" charset="0"/>
              <a:buChar char="•"/>
            </a:pPr>
            <a:r>
              <a:rPr lang="en-US" sz="1800" dirty="0">
                <a:latin typeface="Segoe UI Light"/>
                <a:cs typeface="Segoe UI Light"/>
              </a:rPr>
              <a:t>Custom Connector support allows the registration of developer/IT systems as a building block for citizen developers.</a:t>
            </a:r>
          </a:p>
          <a:p>
            <a:pPr marL="342900" indent="-342900">
              <a:spcAft>
                <a:spcPts val="2000"/>
              </a:spcAft>
              <a:buFont typeface="Arial" panose="020B0604020202020204" pitchFamily="34" charset="0"/>
              <a:buChar char="•"/>
            </a:pPr>
            <a:r>
              <a:rPr lang="en-US" sz="1800" dirty="0">
                <a:latin typeface="Segoe UI Light"/>
                <a:cs typeface="Segoe UI Light"/>
              </a:rPr>
              <a:t>Use multiple data sources in a single application for processes that span systems. </a:t>
            </a:r>
            <a:endParaRPr lang="en-US" sz="1800" dirty="0">
              <a:latin typeface="Segoe UI Light" panose="020B0502040204020203" pitchFamily="34" charset="0"/>
              <a:cs typeface="Segoe UI Light" panose="020B0502040204020203" pitchFamily="34" charset="0"/>
            </a:endParaRPr>
          </a:p>
        </p:txBody>
      </p:sp>
      <p:pic>
        <p:nvPicPr>
          <p:cNvPr id="6" name="Picture 5">
            <a:extLst>
              <a:ext uri="{FF2B5EF4-FFF2-40B4-BE49-F238E27FC236}">
                <a16:creationId xmlns:a16="http://schemas.microsoft.com/office/drawing/2014/main" id="{F86D7CE8-93B3-4CC9-A4DC-746E667E924C}"/>
              </a:ext>
            </a:extLst>
          </p:cNvPr>
          <p:cNvPicPr>
            <a:picLocks noChangeAspect="1"/>
          </p:cNvPicPr>
          <p:nvPr/>
        </p:nvPicPr>
        <p:blipFill>
          <a:blip r:embed="rId3"/>
          <a:stretch>
            <a:fillRect/>
          </a:stretch>
        </p:blipFill>
        <p:spPr>
          <a:xfrm>
            <a:off x="6343666" y="497"/>
            <a:ext cx="6091927" cy="6993533"/>
          </a:xfrm>
          <a:prstGeom prst="rect">
            <a:avLst/>
          </a:prstGeom>
          <a:solidFill>
            <a:schemeClr val="bg1"/>
          </a:solidFill>
        </p:spPr>
      </p:pic>
      <p:sp>
        <p:nvSpPr>
          <p:cNvPr id="5" name="Title 1">
            <a:extLst>
              <a:ext uri="{FF2B5EF4-FFF2-40B4-BE49-F238E27FC236}">
                <a16:creationId xmlns:a16="http://schemas.microsoft.com/office/drawing/2014/main" id="{5C12F6E7-CAD8-420D-8EC9-18B5D66A4AAB}"/>
              </a:ext>
            </a:extLst>
          </p:cNvPr>
          <p:cNvSpPr txBox="1">
            <a:spLocks/>
          </p:cNvSpPr>
          <p:nvPr/>
        </p:nvSpPr>
        <p:spPr>
          <a:xfrm>
            <a:off x="241630" y="125995"/>
            <a:ext cx="5816204" cy="753954"/>
          </a:xfrm>
          <a:prstGeom prst="rect">
            <a:avLst/>
          </a:prstGeom>
        </p:spPr>
        <p:txBody>
          <a:bodyPr lIns="91440" tIns="45720" rIns="91440" bIns="45720" anchor="t"/>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50" dirty="0">
                <a:solidFill>
                  <a:srgbClr val="0078D7"/>
                </a:solidFill>
                <a:cs typeface="Segoe UI"/>
              </a:rPr>
              <a:t>Power Apps Connectors</a:t>
            </a:r>
          </a:p>
        </p:txBody>
      </p:sp>
    </p:spTree>
    <p:extLst>
      <p:ext uri="{BB962C8B-B14F-4D97-AF65-F5344CB8AC3E}">
        <p14:creationId xmlns:p14="http://schemas.microsoft.com/office/powerpoint/2010/main" val="239705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0078D7"/>
                </a:solidFill>
                <a:cs typeface="Segoe UI"/>
              </a:rPr>
              <a:t>Types of connectors</a:t>
            </a:r>
          </a:p>
        </p:txBody>
      </p:sp>
      <p:sp>
        <p:nvSpPr>
          <p:cNvPr id="2" name="Text Placeholder 1">
            <a:extLst>
              <a:ext uri="{FF2B5EF4-FFF2-40B4-BE49-F238E27FC236}">
                <a16:creationId xmlns:a16="http://schemas.microsoft.com/office/drawing/2014/main" id="{C8D1F36B-668C-425E-9C99-F45BD1518015}"/>
              </a:ext>
            </a:extLst>
          </p:cNvPr>
          <p:cNvSpPr>
            <a:spLocks noGrp="1"/>
          </p:cNvSpPr>
          <p:nvPr>
            <p:ph type="body" sz="quarter" idx="10"/>
          </p:nvPr>
        </p:nvSpPr>
        <p:spPr>
          <a:xfrm>
            <a:off x="274638" y="1212850"/>
            <a:ext cx="11887200" cy="3120854"/>
          </a:xfrm>
        </p:spPr>
        <p:txBody>
          <a:bodyPr/>
          <a:lstStyle/>
          <a:p>
            <a:r>
              <a:rPr lang="de-AT" dirty="0"/>
              <a:t>Standard – Usable by any Power Apps user</a:t>
            </a:r>
            <a:endParaRPr lang="en-US" dirty="0"/>
          </a:p>
          <a:p>
            <a:pPr marL="342900" lvl="1" indent="0">
              <a:buNone/>
            </a:pPr>
            <a:r>
              <a:rPr lang="en-US" dirty="0"/>
              <a:t>Such as Azure, Office 365, SharePoint, and Outlook</a:t>
            </a:r>
          </a:p>
          <a:p>
            <a:pPr lvl="1"/>
            <a:endParaRPr lang="en-US" dirty="0"/>
          </a:p>
          <a:p>
            <a:r>
              <a:rPr lang="de-AT" dirty="0"/>
              <a:t>Premium – Requires Power Apps Per User or Per App plan</a:t>
            </a:r>
            <a:endParaRPr lang="en-US" dirty="0"/>
          </a:p>
          <a:p>
            <a:pPr marL="342900" lvl="1" indent="0">
              <a:buNone/>
            </a:pPr>
            <a:r>
              <a:rPr lang="en-US" dirty="0"/>
              <a:t>Such as Salesforce, SQL Server, </a:t>
            </a:r>
            <a:r>
              <a:rPr lang="en-US" dirty="0" err="1"/>
              <a:t>Dataverse</a:t>
            </a:r>
            <a:r>
              <a:rPr lang="en-US" dirty="0"/>
              <a:t>, and Custom Connectors</a:t>
            </a:r>
          </a:p>
          <a:p>
            <a:endParaRPr lang="en-US" dirty="0"/>
          </a:p>
        </p:txBody>
      </p:sp>
    </p:spTree>
    <p:extLst>
      <p:ext uri="{BB962C8B-B14F-4D97-AF65-F5344CB8AC3E}">
        <p14:creationId xmlns:p14="http://schemas.microsoft.com/office/powerpoint/2010/main" val="69147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OneNoteFluid_FileOrder xmlns="63a06213-bfce-439a-8047-554295c11f55" xsi:nil="true"/>
    <MediaLengthInSeconds xmlns="63a06213-bfce-439a-8047-554295c11f55" xsi:nil="true"/>
    <TaxCatchAll xmlns="74eebc8b-4261-4902-b589-5ef5937f602f" xsi:nil="true"/>
    <lcf76f155ced4ddcb4097134ff3c332f xmlns="63a06213-bfce-439a-8047-554295c11f5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C1CB0136D761A4B97992E3D875C1FF0" ma:contentTypeVersion="13" ma:contentTypeDescription="Create a new document." ma:contentTypeScope="" ma:versionID="348debfc0442249f7e569bf10e61d601">
  <xsd:schema xmlns:xsd="http://www.w3.org/2001/XMLSchema" xmlns:xs="http://www.w3.org/2001/XMLSchema" xmlns:p="http://schemas.microsoft.com/office/2006/metadata/properties" xmlns:ns2="63a06213-bfce-439a-8047-554295c11f55" xmlns:ns3="74eebc8b-4261-4902-b589-5ef5937f602f" targetNamespace="http://schemas.microsoft.com/office/2006/metadata/properties" ma:root="true" ma:fieldsID="28fdd097ed5286e251a1dea88def7ca5" ns2:_="" ns3:_="">
    <xsd:import namespace="63a06213-bfce-439a-8047-554295c11f55"/>
    <xsd:import namespace="74eebc8b-4261-4902-b589-5ef5937f602f"/>
    <xsd:element name="properties">
      <xsd:complexType>
        <xsd:sequence>
          <xsd:element name="documentManagement">
            <xsd:complexType>
              <xsd:all>
                <xsd:element ref="ns2:MediaServiceMetadata" minOccurs="0"/>
                <xsd:element ref="ns2:MediaServiceFastMetadata" minOccurs="0"/>
                <xsd:element ref="ns2:OneNoteFluid_FileOrder"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a06213-bfce-439a-8047-554295c11f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OneNoteFluid_FileOrder" ma:index="10" nillable="true" ma:displayName="OneNoteFluid_FileOrder" ma:internalName="OneNoteFluid_FileOrder">
      <xsd:simpleType>
        <xsd:restriction base="dms:Text">
          <xsd:maxLength value="255"/>
        </xsd:restriction>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eebc8b-4261-4902-b589-5ef5937f602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12d27ca1-c41a-4c59-99ab-7906dfaf9c23}" ma:internalName="TaxCatchAll" ma:showField="CatchAllData" ma:web="74eebc8b-4261-4902-b589-5ef5937f602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3b5b03cc-9306-41fe-b546-62901339ed8b"/>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5253fb86-9b63-4920-bff8-96c644771ec3"/>
    <ds:schemaRef ds:uri="http://www.w3.org/XML/1998/namespace"/>
    <ds:schemaRef ds:uri="e7d72042-c94b-4623-b7b3-49577d00fb1c"/>
    <ds:schemaRef ds:uri="63a06213-bfce-439a-8047-554295c11f55"/>
    <ds:schemaRef ds:uri="74eebc8b-4261-4902-b589-5ef5937f602f"/>
  </ds:schemaRefs>
</ds:datastoreItem>
</file>

<file path=customXml/itemProps3.xml><?xml version="1.0" encoding="utf-8"?>
<ds:datastoreItem xmlns:ds="http://schemas.openxmlformats.org/officeDocument/2006/customXml" ds:itemID="{6B538A5B-7E50-4BA6-A8AE-C4E400F309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a06213-bfce-439a-8047-554295c11f55"/>
    <ds:schemaRef ds:uri="74eebc8b-4261-4902-b589-5ef5937f60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 template</Template>
  <TotalTime>1726</TotalTime>
  <Words>1691</Words>
  <Application>Microsoft Office PowerPoint</Application>
  <PresentationFormat>Custom</PresentationFormat>
  <Paragraphs>163</Paragraphs>
  <Slides>21</Slides>
  <Notes>14</Notes>
  <HiddenSlides>2</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21</vt:i4>
      </vt:variant>
    </vt:vector>
  </HeadingPairs>
  <TitlesOfParts>
    <vt:vector size="34" baseType="lpstr">
      <vt:lpstr>&amp;quot</vt:lpstr>
      <vt:lpstr>Arial</vt:lpstr>
      <vt:lpstr>Calibri</vt:lpstr>
      <vt:lpstr>Calibri Light</vt:lpstr>
      <vt:lpstr>Comic Sans MS</vt:lpstr>
      <vt:lpstr>Consolas</vt:lpstr>
      <vt:lpstr>Segoe UI</vt:lpstr>
      <vt:lpstr>Segoe UI Light</vt:lpstr>
      <vt:lpstr>Segoe UI Semibold</vt:lpstr>
      <vt:lpstr>Wingdings</vt:lpstr>
      <vt:lpstr>WHITE TEMPLATE</vt:lpstr>
      <vt:lpstr>Slide Order Example</vt:lpstr>
      <vt:lpstr>Dark Blue</vt:lpstr>
      <vt:lpstr>WorkshopPLUS – Power Apps for Power Users 1 Day with Lab  Module 2: Starting with connectors, screens, and controls  </vt:lpstr>
      <vt:lpstr>Disclaimer</vt:lpstr>
      <vt:lpstr>PowerPoint Presentation</vt:lpstr>
      <vt:lpstr>Module Overview</vt:lpstr>
      <vt:lpstr>Connectors </vt:lpstr>
      <vt:lpstr>Power Apps plans</vt:lpstr>
      <vt:lpstr>What is a connector</vt:lpstr>
      <vt:lpstr>PowerPoint Presentation</vt:lpstr>
      <vt:lpstr>Types of connectors</vt:lpstr>
      <vt:lpstr>Using SharePoint Connector </vt:lpstr>
      <vt:lpstr>Screens </vt:lpstr>
      <vt:lpstr>Screens and controls</vt:lpstr>
      <vt:lpstr>Screen Templates</vt:lpstr>
      <vt:lpstr>Working with screens</vt:lpstr>
      <vt:lpstr>Making an App Responsive</vt:lpstr>
      <vt:lpstr>Navigation </vt:lpstr>
      <vt:lpstr>Navigate between screens</vt:lpstr>
      <vt:lpstr>PowerPoint Presentation</vt:lpstr>
      <vt:lpstr>PowerPoint Presentation</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Microsoft PowerApps Connectors WorkshopPLUS – Office 365 SharePoint Online: PowerApps and Flow for Power Users</dc:title>
  <dc:subject>&lt;Speech title here&gt;</dc:subject>
  <dc:creator>Asia Gandecka</dc:creator>
  <cp:keywords>MSVID, Brand Guidelines, Branding, Visual Identity, grid</cp:keywords>
  <dc:description>Template: Maryfj_x000d_
Formatting: _x000d_
Audience Type:</dc:description>
  <cp:lastModifiedBy>Ethan Irons</cp:lastModifiedBy>
  <cp:revision>94</cp:revision>
  <dcterms:created xsi:type="dcterms:W3CDTF">2019-04-24T00:09:06Z</dcterms:created>
  <dcterms:modified xsi:type="dcterms:W3CDTF">2022-09-15T14:4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1CB0136D761A4B97992E3D875C1FF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4018ff3-f7cd-49ec-be29-23dee7970696</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sanair@microsoft.com</vt:lpwstr>
  </property>
  <property fmtid="{D5CDD505-2E9C-101B-9397-08002B2CF9AE}" pid="16" name="MSIP_Label_f42aa342-8706-4288-bd11-ebb85995028c_SetDate">
    <vt:lpwstr>2017-10-04T13:15:56.0607831-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y fmtid="{D5CDD505-2E9C-101B-9397-08002B2CF9AE}" pid="21" name="xd_ProgID">
    <vt:lpwstr/>
  </property>
  <property fmtid="{D5CDD505-2E9C-101B-9397-08002B2CF9AE}" pid="22" name="ComplianceAssetId">
    <vt:lpwstr/>
  </property>
  <property fmtid="{D5CDD505-2E9C-101B-9397-08002B2CF9AE}" pid="23" name="TemplateUrl">
    <vt:lpwstr/>
  </property>
  <property fmtid="{D5CDD505-2E9C-101B-9397-08002B2CF9AE}" pid="24" name="xd_Signature">
    <vt:bool>false</vt:bool>
  </property>
  <property fmtid="{D5CDD505-2E9C-101B-9397-08002B2CF9AE}" pid="25" name="MediaServiceImageTags">
    <vt:lpwstr/>
  </property>
  <property fmtid="{D5CDD505-2E9C-101B-9397-08002B2CF9AE}" pid="26" name="Order">
    <vt:r8>43200</vt:r8>
  </property>
  <property fmtid="{D5CDD505-2E9C-101B-9397-08002B2CF9AE}" pid="27" name="UpdateComments">
    <vt:lpwstr>Complete</vt:lpwstr>
  </property>
  <property fmtid="{D5CDD505-2E9C-101B-9397-08002B2CF9AE}" pid="28" name="_ExtendedDescription">
    <vt:lpwstr/>
  </property>
  <property fmtid="{D5CDD505-2E9C-101B-9397-08002B2CF9AE}" pid="29" name="TriggerFlowInfo">
    <vt:lpwstr/>
  </property>
</Properties>
</file>